
<file path=[Content_Types].xml><?xml version="1.0" encoding="utf-8"?>
<Types xmlns="http://schemas.openxmlformats.org/package/2006/content-types">
  <Default Extension="bin" ContentType="application/vnd.openxmlformats-officedocument.oleObject"/>
  <Default Extension="emf" ContentType="image/x-emf"/>
  <Default Extension="jfif"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3"/>
  </p:notesMasterIdLst>
  <p:handoutMasterIdLst>
    <p:handoutMasterId r:id="rId24"/>
  </p:handoutMasterIdLst>
  <p:sldIdLst>
    <p:sldId id="263" r:id="rId5"/>
    <p:sldId id="351" r:id="rId6"/>
    <p:sldId id="358" r:id="rId7"/>
    <p:sldId id="353" r:id="rId8"/>
    <p:sldId id="355" r:id="rId9"/>
    <p:sldId id="354" r:id="rId10"/>
    <p:sldId id="356" r:id="rId11"/>
    <p:sldId id="357" r:id="rId12"/>
    <p:sldId id="359" r:id="rId13"/>
    <p:sldId id="360" r:id="rId14"/>
    <p:sldId id="361" r:id="rId15"/>
    <p:sldId id="362" r:id="rId16"/>
    <p:sldId id="363" r:id="rId17"/>
    <p:sldId id="366" r:id="rId18"/>
    <p:sldId id="367" r:id="rId19"/>
    <p:sldId id="368" r:id="rId20"/>
    <p:sldId id="352" r:id="rId21"/>
    <p:sldId id="312" r:id="rId22"/>
  </p:sldIdLst>
  <p:sldSz cx="12192000" cy="6858000"/>
  <p:notesSz cx="6858000" cy="9144000"/>
  <p:custDataLst>
    <p:tags r:id="rId25"/>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9BFF"/>
    <a:srgbClr val="F89B2D"/>
    <a:srgbClr val="FFFFFF"/>
    <a:srgbClr val="FFFDF6"/>
    <a:srgbClr val="285DFF"/>
    <a:srgbClr val="D3DCDE"/>
    <a:srgbClr val="879092"/>
    <a:srgbClr val="285AFF"/>
    <a:srgbClr val="7030A0"/>
    <a:srgbClr val="FFFAE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471E341-1007-4A2C-BABB-68E9AA75FAFC}" v="9" dt="2024-05-02T09:46:29.803"/>
  </p1510:revLst>
</p1510:revInfo>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Style moyen 2 - Accentuatio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2" d="100"/>
          <a:sy n="62" d="100"/>
        </p:scale>
        <p:origin x="804" y="56"/>
      </p:cViewPr>
      <p:guideLst>
        <p:guide orient="horz" pos="2160"/>
        <p:guide pos="3840"/>
      </p:guideLst>
    </p:cSldViewPr>
  </p:slideViewPr>
  <p:notesTextViewPr>
    <p:cViewPr>
      <p:scale>
        <a:sx n="1" d="1"/>
        <a:sy n="1" d="1"/>
      </p:scale>
      <p:origin x="0" y="0"/>
    </p:cViewPr>
  </p:notesTextViewPr>
  <p:sorterViewPr>
    <p:cViewPr>
      <p:scale>
        <a:sx n="50" d="100"/>
        <a:sy n="50" d="100"/>
      </p:scale>
      <p:origin x="0" y="-168"/>
    </p:cViewPr>
  </p:sorter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ierre CHAVANNE" userId="2e2e2412-eb49-4787-bd3d-d17adeb25e11" providerId="ADAL" clId="{975F3B78-9B6A-432D-9022-2C180070743C}"/>
    <pc:docChg chg="undo custSel addSld modSld replTag">
      <pc:chgData name="Pierre CHAVANNE" userId="2e2e2412-eb49-4787-bd3d-d17adeb25e11" providerId="ADAL" clId="{975F3B78-9B6A-432D-9022-2C180070743C}" dt="2024-04-03T17:04:27.580" v="8070" actId="20577"/>
      <pc:docMkLst>
        <pc:docMk/>
      </pc:docMkLst>
      <pc:sldChg chg="modSp mod">
        <pc:chgData name="Pierre CHAVANNE" userId="2e2e2412-eb49-4787-bd3d-d17adeb25e11" providerId="ADAL" clId="{975F3B78-9B6A-432D-9022-2C180070743C}" dt="2024-03-25T09:24:19.040" v="3762" actId="6549"/>
        <pc:sldMkLst>
          <pc:docMk/>
          <pc:sldMk cId="3721139861" sldId="352"/>
        </pc:sldMkLst>
        <pc:spChg chg="mod">
          <ac:chgData name="Pierre CHAVANNE" userId="2e2e2412-eb49-4787-bd3d-d17adeb25e11" providerId="ADAL" clId="{975F3B78-9B6A-432D-9022-2C180070743C}" dt="2024-03-25T09:24:19.040" v="3762" actId="6549"/>
          <ac:spMkLst>
            <pc:docMk/>
            <pc:sldMk cId="3721139861" sldId="352"/>
            <ac:spMk id="4" creationId="{430F12B2-8A30-D6A2-6AC7-ABAE7B02E283}"/>
          </ac:spMkLst>
        </pc:spChg>
      </pc:sldChg>
      <pc:sldChg chg="modSp mod">
        <pc:chgData name="Pierre CHAVANNE" userId="2e2e2412-eb49-4787-bd3d-d17adeb25e11" providerId="ADAL" clId="{975F3B78-9B6A-432D-9022-2C180070743C}" dt="2024-03-06T10:20:55.380" v="87" actId="20577"/>
        <pc:sldMkLst>
          <pc:docMk/>
          <pc:sldMk cId="317458403" sldId="353"/>
        </pc:sldMkLst>
        <pc:spChg chg="mod">
          <ac:chgData name="Pierre CHAVANNE" userId="2e2e2412-eb49-4787-bd3d-d17adeb25e11" providerId="ADAL" clId="{975F3B78-9B6A-432D-9022-2C180070743C}" dt="2024-03-06T10:20:55.380" v="87" actId="20577"/>
          <ac:spMkLst>
            <pc:docMk/>
            <pc:sldMk cId="317458403" sldId="353"/>
            <ac:spMk id="4" creationId="{430F12B2-8A30-D6A2-6AC7-ABAE7B02E283}"/>
          </ac:spMkLst>
        </pc:spChg>
      </pc:sldChg>
      <pc:sldChg chg="addSp delSp modSp add mod">
        <pc:chgData name="Pierre CHAVANNE" userId="2e2e2412-eb49-4787-bd3d-d17adeb25e11" providerId="ADAL" clId="{975F3B78-9B6A-432D-9022-2C180070743C}" dt="2024-03-06T11:16:10.152" v="908" actId="20577"/>
        <pc:sldMkLst>
          <pc:docMk/>
          <pc:sldMk cId="2111793919" sldId="357"/>
        </pc:sldMkLst>
        <pc:spChg chg="mod">
          <ac:chgData name="Pierre CHAVANNE" userId="2e2e2412-eb49-4787-bd3d-d17adeb25e11" providerId="ADAL" clId="{975F3B78-9B6A-432D-9022-2C180070743C}" dt="2024-03-05T16:54:20.774" v="3" actId="948"/>
          <ac:spMkLst>
            <pc:docMk/>
            <pc:sldMk cId="2111793919" sldId="357"/>
            <ac:spMk id="2" creationId="{E52B8373-62D1-544B-7A5C-41B622D6A38F}"/>
          </ac:spMkLst>
        </pc:spChg>
        <pc:spChg chg="add del mod modVis">
          <ac:chgData name="Pierre CHAVANNE" userId="2e2e2412-eb49-4787-bd3d-d17adeb25e11" providerId="ADAL" clId="{975F3B78-9B6A-432D-9022-2C180070743C}" dt="2024-03-05T16:54:20.804" v="26"/>
          <ac:spMkLst>
            <pc:docMk/>
            <pc:sldMk cId="2111793919" sldId="357"/>
            <ac:spMk id="3" creationId="{0F87A3B0-DC69-CFEB-2BD2-5E390A96A74A}"/>
          </ac:spMkLst>
        </pc:spChg>
        <pc:spChg chg="mod">
          <ac:chgData name="Pierre CHAVANNE" userId="2e2e2412-eb49-4787-bd3d-d17adeb25e11" providerId="ADAL" clId="{975F3B78-9B6A-432D-9022-2C180070743C}" dt="2024-03-06T11:16:10.152" v="908" actId="20577"/>
          <ac:spMkLst>
            <pc:docMk/>
            <pc:sldMk cId="2111793919" sldId="357"/>
            <ac:spMk id="4" creationId="{430F12B2-8A30-D6A2-6AC7-ABAE7B02E283}"/>
          </ac:spMkLst>
        </pc:spChg>
        <pc:graphicFrameChg chg="mod">
          <ac:chgData name="Pierre CHAVANNE" userId="2e2e2412-eb49-4787-bd3d-d17adeb25e11" providerId="ADAL" clId="{975F3B78-9B6A-432D-9022-2C180070743C}" dt="2024-03-05T16:54:20.812" v="28"/>
          <ac:graphicFrameMkLst>
            <pc:docMk/>
            <pc:sldMk cId="2111793919" sldId="357"/>
            <ac:graphicFrameMk id="5" creationId="{0A691175-E3FF-7DC1-B541-0E7FF0C4A2BF}"/>
          </ac:graphicFrameMkLst>
        </pc:graphicFrameChg>
      </pc:sldChg>
      <pc:sldChg chg="addSp delSp modSp add mod">
        <pc:chgData name="Pierre CHAVANNE" userId="2e2e2412-eb49-4787-bd3d-d17adeb25e11" providerId="ADAL" clId="{975F3B78-9B6A-432D-9022-2C180070743C}" dt="2024-03-06T10:27:31.649" v="160" actId="27614"/>
        <pc:sldMkLst>
          <pc:docMk/>
          <pc:sldMk cId="4088386266" sldId="358"/>
        </pc:sldMkLst>
        <pc:spChg chg="mod">
          <ac:chgData name="Pierre CHAVANNE" userId="2e2e2412-eb49-4787-bd3d-d17adeb25e11" providerId="ADAL" clId="{975F3B78-9B6A-432D-9022-2C180070743C}" dt="2024-03-06T10:27:11.003" v="129" actId="948"/>
          <ac:spMkLst>
            <pc:docMk/>
            <pc:sldMk cId="4088386266" sldId="358"/>
            <ac:spMk id="2" creationId="{E52B8373-62D1-544B-7A5C-41B622D6A38F}"/>
          </ac:spMkLst>
        </pc:spChg>
        <pc:spChg chg="del mod">
          <ac:chgData name="Pierre CHAVANNE" userId="2e2e2412-eb49-4787-bd3d-d17adeb25e11" providerId="ADAL" clId="{975F3B78-9B6A-432D-9022-2C180070743C}" dt="2024-03-06T10:27:16.079" v="156" actId="478"/>
          <ac:spMkLst>
            <pc:docMk/>
            <pc:sldMk cId="4088386266" sldId="358"/>
            <ac:spMk id="4" creationId="{430F12B2-8A30-D6A2-6AC7-ABAE7B02E283}"/>
          </ac:spMkLst>
        </pc:spChg>
        <pc:spChg chg="add del mod modVis">
          <ac:chgData name="Pierre CHAVANNE" userId="2e2e2412-eb49-4787-bd3d-d17adeb25e11" providerId="ADAL" clId="{975F3B78-9B6A-432D-9022-2C180070743C}" dt="2024-03-06T10:27:11.026" v="152"/>
          <ac:spMkLst>
            <pc:docMk/>
            <pc:sldMk cId="4088386266" sldId="358"/>
            <ac:spMk id="5" creationId="{096D0FFA-B759-02EF-FC4C-961B9ADD5BFC}"/>
          </ac:spMkLst>
        </pc:spChg>
        <pc:spChg chg="add del mod">
          <ac:chgData name="Pierre CHAVANNE" userId="2e2e2412-eb49-4787-bd3d-d17adeb25e11" providerId="ADAL" clId="{975F3B78-9B6A-432D-9022-2C180070743C}" dt="2024-03-06T10:27:17.301" v="157" actId="478"/>
          <ac:spMkLst>
            <pc:docMk/>
            <pc:sldMk cId="4088386266" sldId="358"/>
            <ac:spMk id="8" creationId="{DDEAEA3F-127C-F98A-1C32-C337A7BFC568}"/>
          </ac:spMkLst>
        </pc:spChg>
        <pc:graphicFrameChg chg="add mod ord modVis replST">
          <ac:chgData name="Pierre CHAVANNE" userId="2e2e2412-eb49-4787-bd3d-d17adeb25e11" providerId="ADAL" clId="{975F3B78-9B6A-432D-9022-2C180070743C}" dt="2024-03-06T10:27:11.028" v="154"/>
          <ac:graphicFrameMkLst>
            <pc:docMk/>
            <pc:sldMk cId="4088386266" sldId="358"/>
            <ac:graphicFrameMk id="3" creationId="{1C077969-68B8-529A-0D48-D21D81865458}"/>
          </ac:graphicFrameMkLst>
        </pc:graphicFrameChg>
        <pc:picChg chg="add mod">
          <ac:chgData name="Pierre CHAVANNE" userId="2e2e2412-eb49-4787-bd3d-d17adeb25e11" providerId="ADAL" clId="{975F3B78-9B6A-432D-9022-2C180070743C}" dt="2024-03-06T10:27:31.649" v="160" actId="27614"/>
          <ac:picMkLst>
            <pc:docMk/>
            <pc:sldMk cId="4088386266" sldId="358"/>
            <ac:picMk id="10" creationId="{6649D353-4EB2-37E8-0186-420691660A07}"/>
          </ac:picMkLst>
        </pc:picChg>
      </pc:sldChg>
      <pc:sldChg chg="modSp add mod">
        <pc:chgData name="Pierre CHAVANNE" userId="2e2e2412-eb49-4787-bd3d-d17adeb25e11" providerId="ADAL" clId="{975F3B78-9B6A-432D-9022-2C180070743C}" dt="2024-04-03T17:04:27.580" v="8070" actId="20577"/>
        <pc:sldMkLst>
          <pc:docMk/>
          <pc:sldMk cId="1205250013" sldId="359"/>
        </pc:sldMkLst>
        <pc:spChg chg="mod">
          <ac:chgData name="Pierre CHAVANNE" userId="2e2e2412-eb49-4787-bd3d-d17adeb25e11" providerId="ADAL" clId="{975F3B78-9B6A-432D-9022-2C180070743C}" dt="2024-03-25T08:43:20.440" v="1063" actId="20577"/>
          <ac:spMkLst>
            <pc:docMk/>
            <pc:sldMk cId="1205250013" sldId="359"/>
            <ac:spMk id="2" creationId="{E52B8373-62D1-544B-7A5C-41B622D6A38F}"/>
          </ac:spMkLst>
        </pc:spChg>
        <pc:spChg chg="mod">
          <ac:chgData name="Pierre CHAVANNE" userId="2e2e2412-eb49-4787-bd3d-d17adeb25e11" providerId="ADAL" clId="{975F3B78-9B6A-432D-9022-2C180070743C}" dt="2024-04-03T17:04:27.580" v="8070" actId="20577"/>
          <ac:spMkLst>
            <pc:docMk/>
            <pc:sldMk cId="1205250013" sldId="359"/>
            <ac:spMk id="4" creationId="{430F12B2-8A30-D6A2-6AC7-ABAE7B02E283}"/>
          </ac:spMkLst>
        </pc:spChg>
      </pc:sldChg>
      <pc:sldChg chg="addSp delSp modSp add mod">
        <pc:chgData name="Pierre CHAVANNE" userId="2e2e2412-eb49-4787-bd3d-d17adeb25e11" providerId="ADAL" clId="{975F3B78-9B6A-432D-9022-2C180070743C}" dt="2024-04-03T16:25:25.815" v="7980" actId="478"/>
        <pc:sldMkLst>
          <pc:docMk/>
          <pc:sldMk cId="4233913435" sldId="360"/>
        </pc:sldMkLst>
        <pc:spChg chg="mod">
          <ac:chgData name="Pierre CHAVANNE" userId="2e2e2412-eb49-4787-bd3d-d17adeb25e11" providerId="ADAL" clId="{975F3B78-9B6A-432D-9022-2C180070743C}" dt="2024-04-03T16:18:36.022" v="7619" actId="20577"/>
          <ac:spMkLst>
            <pc:docMk/>
            <pc:sldMk cId="4233913435" sldId="360"/>
            <ac:spMk id="4" creationId="{430F12B2-8A30-D6A2-6AC7-ABAE7B02E283}"/>
          </ac:spMkLst>
        </pc:spChg>
        <pc:picChg chg="add del mod modCrop">
          <ac:chgData name="Pierre CHAVANNE" userId="2e2e2412-eb49-4787-bd3d-d17adeb25e11" providerId="ADAL" clId="{975F3B78-9B6A-432D-9022-2C180070743C}" dt="2024-04-03T16:25:25.815" v="7980" actId="478"/>
          <ac:picMkLst>
            <pc:docMk/>
            <pc:sldMk cId="4233913435" sldId="360"/>
            <ac:picMk id="3" creationId="{22C57594-4C35-C5E7-A5EA-08F102199878}"/>
          </ac:picMkLst>
        </pc:picChg>
      </pc:sldChg>
      <pc:sldChg chg="addSp delSp modSp add mod">
        <pc:chgData name="Pierre CHAVANNE" userId="2e2e2412-eb49-4787-bd3d-d17adeb25e11" providerId="ADAL" clId="{975F3B78-9B6A-432D-9022-2C180070743C}" dt="2024-04-03T16:20:48.212" v="7695" actId="20577"/>
        <pc:sldMkLst>
          <pc:docMk/>
          <pc:sldMk cId="1692057320" sldId="361"/>
        </pc:sldMkLst>
        <pc:spChg chg="del">
          <ac:chgData name="Pierre CHAVANNE" userId="2e2e2412-eb49-4787-bd3d-d17adeb25e11" providerId="ADAL" clId="{975F3B78-9B6A-432D-9022-2C180070743C}" dt="2024-03-25T09:43:47.242" v="4367" actId="478"/>
          <ac:spMkLst>
            <pc:docMk/>
            <pc:sldMk cId="1692057320" sldId="361"/>
            <ac:spMk id="2" creationId="{E52B8373-62D1-544B-7A5C-41B622D6A38F}"/>
          </ac:spMkLst>
        </pc:spChg>
        <pc:spChg chg="mod">
          <ac:chgData name="Pierre CHAVANNE" userId="2e2e2412-eb49-4787-bd3d-d17adeb25e11" providerId="ADAL" clId="{975F3B78-9B6A-432D-9022-2C180070743C}" dt="2024-04-03T16:19:50.148" v="7634" actId="1076"/>
          <ac:spMkLst>
            <pc:docMk/>
            <pc:sldMk cId="1692057320" sldId="361"/>
            <ac:spMk id="4" creationId="{430F12B2-8A30-D6A2-6AC7-ABAE7B02E283}"/>
          </ac:spMkLst>
        </pc:spChg>
        <pc:spChg chg="add del mod">
          <ac:chgData name="Pierre CHAVANNE" userId="2e2e2412-eb49-4787-bd3d-d17adeb25e11" providerId="ADAL" clId="{975F3B78-9B6A-432D-9022-2C180070743C}" dt="2024-03-25T09:43:48.868" v="4368" actId="478"/>
          <ac:spMkLst>
            <pc:docMk/>
            <pc:sldMk cId="1692057320" sldId="361"/>
            <ac:spMk id="7" creationId="{432835CE-750A-3E2E-F44C-8CF4C3B9EF60}"/>
          </ac:spMkLst>
        </pc:spChg>
        <pc:spChg chg="add del">
          <ac:chgData name="Pierre CHAVANNE" userId="2e2e2412-eb49-4787-bd3d-d17adeb25e11" providerId="ADAL" clId="{975F3B78-9B6A-432D-9022-2C180070743C}" dt="2024-03-25T09:47:51.124" v="4373" actId="22"/>
          <ac:spMkLst>
            <pc:docMk/>
            <pc:sldMk cId="1692057320" sldId="361"/>
            <ac:spMk id="11" creationId="{41A44138-7974-9784-BB29-106FEC04548D}"/>
          </ac:spMkLst>
        </pc:spChg>
        <pc:spChg chg="add mod">
          <ac:chgData name="Pierre CHAVANNE" userId="2e2e2412-eb49-4787-bd3d-d17adeb25e11" providerId="ADAL" clId="{975F3B78-9B6A-432D-9022-2C180070743C}" dt="2024-03-25T09:48:04.026" v="4400" actId="20577"/>
          <ac:spMkLst>
            <pc:docMk/>
            <pc:sldMk cId="1692057320" sldId="361"/>
            <ac:spMk id="12" creationId="{29EF7313-B3C8-73E8-2C61-44F8D2646C08}"/>
          </ac:spMkLst>
        </pc:spChg>
        <pc:spChg chg="add mod">
          <ac:chgData name="Pierre CHAVANNE" userId="2e2e2412-eb49-4787-bd3d-d17adeb25e11" providerId="ADAL" clId="{975F3B78-9B6A-432D-9022-2C180070743C}" dt="2024-04-03T16:20:48.212" v="7695" actId="20577"/>
          <ac:spMkLst>
            <pc:docMk/>
            <pc:sldMk cId="1692057320" sldId="361"/>
            <ac:spMk id="13" creationId="{488F5FF0-1869-D4F3-AC25-D3703023817D}"/>
          </ac:spMkLst>
        </pc:spChg>
        <pc:spChg chg="add mod">
          <ac:chgData name="Pierre CHAVANNE" userId="2e2e2412-eb49-4787-bd3d-d17adeb25e11" providerId="ADAL" clId="{975F3B78-9B6A-432D-9022-2C180070743C}" dt="2024-03-25T09:51:15.906" v="4764" actId="14100"/>
          <ac:spMkLst>
            <pc:docMk/>
            <pc:sldMk cId="1692057320" sldId="361"/>
            <ac:spMk id="16" creationId="{965763B9-0052-99B3-B6D2-11731675D6B0}"/>
          </ac:spMkLst>
        </pc:spChg>
        <pc:spChg chg="add mod">
          <ac:chgData name="Pierre CHAVANNE" userId="2e2e2412-eb49-4787-bd3d-d17adeb25e11" providerId="ADAL" clId="{975F3B78-9B6A-432D-9022-2C180070743C}" dt="2024-03-25T09:56:33.095" v="5123" actId="20577"/>
          <ac:spMkLst>
            <pc:docMk/>
            <pc:sldMk cId="1692057320" sldId="361"/>
            <ac:spMk id="17" creationId="{89D70CB5-D9A3-D51B-9308-28E0A8CF26FA}"/>
          </ac:spMkLst>
        </pc:spChg>
        <pc:spChg chg="add mod">
          <ac:chgData name="Pierre CHAVANNE" userId="2e2e2412-eb49-4787-bd3d-d17adeb25e11" providerId="ADAL" clId="{975F3B78-9B6A-432D-9022-2C180070743C}" dt="2024-03-25T09:56:49.959" v="5130" actId="20577"/>
          <ac:spMkLst>
            <pc:docMk/>
            <pc:sldMk cId="1692057320" sldId="361"/>
            <ac:spMk id="18" creationId="{BC7E6361-9DC6-372B-9F04-AFD3EC988728}"/>
          </ac:spMkLst>
        </pc:spChg>
        <pc:spChg chg="add mod">
          <ac:chgData name="Pierre CHAVANNE" userId="2e2e2412-eb49-4787-bd3d-d17adeb25e11" providerId="ADAL" clId="{975F3B78-9B6A-432D-9022-2C180070743C}" dt="2024-04-03T16:20:23.540" v="7684" actId="20577"/>
          <ac:spMkLst>
            <pc:docMk/>
            <pc:sldMk cId="1692057320" sldId="361"/>
            <ac:spMk id="19" creationId="{D57C5076-A0CF-2EF3-9E2E-71A13E175928}"/>
          </ac:spMkLst>
        </pc:spChg>
        <pc:picChg chg="add mod">
          <ac:chgData name="Pierre CHAVANNE" userId="2e2e2412-eb49-4787-bd3d-d17adeb25e11" providerId="ADAL" clId="{975F3B78-9B6A-432D-9022-2C180070743C}" dt="2024-04-03T16:19:47.010" v="7633" actId="1076"/>
          <ac:picMkLst>
            <pc:docMk/>
            <pc:sldMk cId="1692057320" sldId="361"/>
            <ac:picMk id="3" creationId="{6932AF41-09E1-C267-49EF-0AED8C1A07AC}"/>
          </ac:picMkLst>
        </pc:picChg>
        <pc:picChg chg="add del mod modCrop">
          <ac:chgData name="Pierre CHAVANNE" userId="2e2e2412-eb49-4787-bd3d-d17adeb25e11" providerId="ADAL" clId="{975F3B78-9B6A-432D-9022-2C180070743C}" dt="2024-04-03T16:19:37.967" v="7627" actId="478"/>
          <ac:picMkLst>
            <pc:docMk/>
            <pc:sldMk cId="1692057320" sldId="361"/>
            <ac:picMk id="9" creationId="{C4BCB4F9-4ECB-8313-80F8-BA64A591FC67}"/>
          </ac:picMkLst>
        </pc:picChg>
        <pc:picChg chg="add mod modCrop">
          <ac:chgData name="Pierre CHAVANNE" userId="2e2e2412-eb49-4787-bd3d-d17adeb25e11" providerId="ADAL" clId="{975F3B78-9B6A-432D-9022-2C180070743C}" dt="2024-03-25T09:50:22.567" v="4599" actId="14100"/>
          <ac:picMkLst>
            <pc:docMk/>
            <pc:sldMk cId="1692057320" sldId="361"/>
            <ac:picMk id="15" creationId="{F24E0C5B-F6EC-116B-57B5-278D48AD7EFD}"/>
          </ac:picMkLst>
        </pc:picChg>
        <pc:picChg chg="add del">
          <ac:chgData name="Pierre CHAVANNE" userId="2e2e2412-eb49-4787-bd3d-d17adeb25e11" providerId="ADAL" clId="{975F3B78-9B6A-432D-9022-2C180070743C}" dt="2024-03-25T09:58:18.536" v="5312" actId="478"/>
          <ac:picMkLst>
            <pc:docMk/>
            <pc:sldMk cId="1692057320" sldId="361"/>
            <ac:picMk id="21" creationId="{C6AC9B60-2DC5-6187-46E1-D56224BBA2D6}"/>
          </ac:picMkLst>
        </pc:picChg>
      </pc:sldChg>
      <pc:sldChg chg="addSp delSp modSp add mod">
        <pc:chgData name="Pierre CHAVANNE" userId="2e2e2412-eb49-4787-bd3d-d17adeb25e11" providerId="ADAL" clId="{975F3B78-9B6A-432D-9022-2C180070743C}" dt="2024-04-03T16:24:24.015" v="7976" actId="732"/>
        <pc:sldMkLst>
          <pc:docMk/>
          <pc:sldMk cId="2430593300" sldId="362"/>
        </pc:sldMkLst>
        <pc:spChg chg="mod">
          <ac:chgData name="Pierre CHAVANNE" userId="2e2e2412-eb49-4787-bd3d-d17adeb25e11" providerId="ADAL" clId="{975F3B78-9B6A-432D-9022-2C180070743C}" dt="2024-04-03T16:24:02.091" v="7975" actId="20577"/>
          <ac:spMkLst>
            <pc:docMk/>
            <pc:sldMk cId="2430593300" sldId="362"/>
            <ac:spMk id="4" creationId="{430F12B2-8A30-D6A2-6AC7-ABAE7B02E283}"/>
          </ac:spMkLst>
        </pc:spChg>
        <pc:spChg chg="del">
          <ac:chgData name="Pierre CHAVANNE" userId="2e2e2412-eb49-4787-bd3d-d17adeb25e11" providerId="ADAL" clId="{975F3B78-9B6A-432D-9022-2C180070743C}" dt="2024-03-25T09:58:27.877" v="5321" actId="478"/>
          <ac:spMkLst>
            <pc:docMk/>
            <pc:sldMk cId="2430593300" sldId="362"/>
            <ac:spMk id="13" creationId="{488F5FF0-1869-D4F3-AC25-D3703023817D}"/>
          </ac:spMkLst>
        </pc:spChg>
        <pc:spChg chg="del">
          <ac:chgData name="Pierre CHAVANNE" userId="2e2e2412-eb49-4787-bd3d-d17adeb25e11" providerId="ADAL" clId="{975F3B78-9B6A-432D-9022-2C180070743C}" dt="2024-03-25T09:58:21.993" v="5315" actId="478"/>
          <ac:spMkLst>
            <pc:docMk/>
            <pc:sldMk cId="2430593300" sldId="362"/>
            <ac:spMk id="16" creationId="{965763B9-0052-99B3-B6D2-11731675D6B0}"/>
          </ac:spMkLst>
        </pc:spChg>
        <pc:spChg chg="del">
          <ac:chgData name="Pierre CHAVANNE" userId="2e2e2412-eb49-4787-bd3d-d17adeb25e11" providerId="ADAL" clId="{975F3B78-9B6A-432D-9022-2C180070743C}" dt="2024-03-25T09:58:22.396" v="5316" actId="478"/>
          <ac:spMkLst>
            <pc:docMk/>
            <pc:sldMk cId="2430593300" sldId="362"/>
            <ac:spMk id="17" creationId="{89D70CB5-D9A3-D51B-9308-28E0A8CF26FA}"/>
          </ac:spMkLst>
        </pc:spChg>
        <pc:spChg chg="del mod">
          <ac:chgData name="Pierre CHAVANNE" userId="2e2e2412-eb49-4787-bd3d-d17adeb25e11" providerId="ADAL" clId="{975F3B78-9B6A-432D-9022-2C180070743C}" dt="2024-03-25T09:58:25.320" v="5319" actId="478"/>
          <ac:spMkLst>
            <pc:docMk/>
            <pc:sldMk cId="2430593300" sldId="362"/>
            <ac:spMk id="18" creationId="{BC7E6361-9DC6-372B-9F04-AFD3EC988728}"/>
          </ac:spMkLst>
        </pc:spChg>
        <pc:spChg chg="del mod">
          <ac:chgData name="Pierre CHAVANNE" userId="2e2e2412-eb49-4787-bd3d-d17adeb25e11" providerId="ADAL" clId="{975F3B78-9B6A-432D-9022-2C180070743C}" dt="2024-03-25T09:58:26.727" v="5320" actId="478"/>
          <ac:spMkLst>
            <pc:docMk/>
            <pc:sldMk cId="2430593300" sldId="362"/>
            <ac:spMk id="19" creationId="{D57C5076-A0CF-2EF3-9E2E-71A13E175928}"/>
          </ac:spMkLst>
        </pc:spChg>
        <pc:picChg chg="add mod modCrop">
          <ac:chgData name="Pierre CHAVANNE" userId="2e2e2412-eb49-4787-bd3d-d17adeb25e11" providerId="ADAL" clId="{975F3B78-9B6A-432D-9022-2C180070743C}" dt="2024-04-03T16:24:24.015" v="7976" actId="732"/>
          <ac:picMkLst>
            <pc:docMk/>
            <pc:sldMk cId="2430593300" sldId="362"/>
            <ac:picMk id="3" creationId="{BD9BDD05-F77D-FAD7-144D-DA9813CDD04F}"/>
          </ac:picMkLst>
        </pc:picChg>
        <pc:picChg chg="del">
          <ac:chgData name="Pierre CHAVANNE" userId="2e2e2412-eb49-4787-bd3d-d17adeb25e11" providerId="ADAL" clId="{975F3B78-9B6A-432D-9022-2C180070743C}" dt="2024-03-25T09:58:20.087" v="5313" actId="478"/>
          <ac:picMkLst>
            <pc:docMk/>
            <pc:sldMk cId="2430593300" sldId="362"/>
            <ac:picMk id="9" creationId="{C4BCB4F9-4ECB-8313-80F8-BA64A591FC67}"/>
          </ac:picMkLst>
        </pc:picChg>
        <pc:picChg chg="del">
          <ac:chgData name="Pierre CHAVANNE" userId="2e2e2412-eb49-4787-bd3d-d17adeb25e11" providerId="ADAL" clId="{975F3B78-9B6A-432D-9022-2C180070743C}" dt="2024-03-25T09:58:20.598" v="5314" actId="478"/>
          <ac:picMkLst>
            <pc:docMk/>
            <pc:sldMk cId="2430593300" sldId="362"/>
            <ac:picMk id="15" creationId="{F24E0C5B-F6EC-116B-57B5-278D48AD7EFD}"/>
          </ac:picMkLst>
        </pc:picChg>
        <pc:picChg chg="mod">
          <ac:chgData name="Pierre CHAVANNE" userId="2e2e2412-eb49-4787-bd3d-d17adeb25e11" providerId="ADAL" clId="{975F3B78-9B6A-432D-9022-2C180070743C}" dt="2024-03-25T09:58:38.248" v="5324" actId="1076"/>
          <ac:picMkLst>
            <pc:docMk/>
            <pc:sldMk cId="2430593300" sldId="362"/>
            <ac:picMk id="21" creationId="{C6AC9B60-2DC5-6187-46E1-D56224BBA2D6}"/>
          </ac:picMkLst>
        </pc:picChg>
      </pc:sldChg>
    </pc:docChg>
  </pc:docChgLst>
  <pc:docChgLst>
    <pc:chgData name="Pierre CHAVANNE" userId="2e2e2412-eb49-4787-bd3d-d17adeb25e11" providerId="ADAL" clId="{8E769656-82DF-4740-BA14-9D4801EE0342}"/>
    <pc:docChg chg="undo custSel addSld delSld modSld sldOrd">
      <pc:chgData name="Pierre CHAVANNE" userId="2e2e2412-eb49-4787-bd3d-d17adeb25e11" providerId="ADAL" clId="{8E769656-82DF-4740-BA14-9D4801EE0342}" dt="2023-12-11T15:22:29.230" v="11711"/>
      <pc:docMkLst>
        <pc:docMk/>
      </pc:docMkLst>
      <pc:sldChg chg="del">
        <pc:chgData name="Pierre CHAVANNE" userId="2e2e2412-eb49-4787-bd3d-d17adeb25e11" providerId="ADAL" clId="{8E769656-82DF-4740-BA14-9D4801EE0342}" dt="2023-12-11T09:20:32.775" v="105" actId="47"/>
        <pc:sldMkLst>
          <pc:docMk/>
          <pc:sldMk cId="416608894" sldId="256"/>
        </pc:sldMkLst>
      </pc:sldChg>
      <pc:sldChg chg="addSp modSp del mod">
        <pc:chgData name="Pierre CHAVANNE" userId="2e2e2412-eb49-4787-bd3d-d17adeb25e11" providerId="ADAL" clId="{8E769656-82DF-4740-BA14-9D4801EE0342}" dt="2023-12-11T10:56:56.466" v="3181" actId="47"/>
        <pc:sldMkLst>
          <pc:docMk/>
          <pc:sldMk cId="2197202711" sldId="260"/>
        </pc:sldMkLst>
        <pc:picChg chg="add mod">
          <ac:chgData name="Pierre CHAVANNE" userId="2e2e2412-eb49-4787-bd3d-d17adeb25e11" providerId="ADAL" clId="{8E769656-82DF-4740-BA14-9D4801EE0342}" dt="2023-12-11T10:09:25.535" v="1576" actId="14100"/>
          <ac:picMkLst>
            <pc:docMk/>
            <pc:sldMk cId="2197202711" sldId="260"/>
            <ac:picMk id="6" creationId="{0B57A0EE-5157-2AC7-0C4B-85495F2A9E36}"/>
          </ac:picMkLst>
        </pc:picChg>
      </pc:sldChg>
      <pc:sldChg chg="addSp delSp modSp mod">
        <pc:chgData name="Pierre CHAVANNE" userId="2e2e2412-eb49-4787-bd3d-d17adeb25e11" providerId="ADAL" clId="{8E769656-82DF-4740-BA14-9D4801EE0342}" dt="2023-12-11T12:50:57.550" v="7104" actId="20577"/>
        <pc:sldMkLst>
          <pc:docMk/>
          <pc:sldMk cId="4082308843" sldId="262"/>
        </pc:sldMkLst>
        <pc:spChg chg="mod">
          <ac:chgData name="Pierre CHAVANNE" userId="2e2e2412-eb49-4787-bd3d-d17adeb25e11" providerId="ADAL" clId="{8E769656-82DF-4740-BA14-9D4801EE0342}" dt="2023-12-11T10:49:30.036" v="2816" actId="1037"/>
          <ac:spMkLst>
            <pc:docMk/>
            <pc:sldMk cId="4082308843" sldId="262"/>
            <ac:spMk id="2" creationId="{E52B8373-62D1-544B-7A5C-41B622D6A38F}"/>
          </ac:spMkLst>
        </pc:spChg>
        <pc:spChg chg="del mod">
          <ac:chgData name="Pierre CHAVANNE" userId="2e2e2412-eb49-4787-bd3d-d17adeb25e11" providerId="ADAL" clId="{8E769656-82DF-4740-BA14-9D4801EE0342}" dt="2023-12-11T10:31:10.617" v="1838" actId="478"/>
          <ac:spMkLst>
            <pc:docMk/>
            <pc:sldMk cId="4082308843" sldId="262"/>
            <ac:spMk id="3" creationId="{03E5E2B5-68D7-C512-4F38-EEC22E20C105}"/>
          </ac:spMkLst>
        </pc:spChg>
        <pc:spChg chg="mod">
          <ac:chgData name="Pierre CHAVANNE" userId="2e2e2412-eb49-4787-bd3d-d17adeb25e11" providerId="ADAL" clId="{8E769656-82DF-4740-BA14-9D4801EE0342}" dt="2023-12-11T12:50:57.550" v="7104" actId="20577"/>
          <ac:spMkLst>
            <pc:docMk/>
            <pc:sldMk cId="4082308843" sldId="262"/>
            <ac:spMk id="4" creationId="{430F12B2-8A30-D6A2-6AC7-ABAE7B02E283}"/>
          </ac:spMkLst>
        </pc:spChg>
        <pc:spChg chg="del">
          <ac:chgData name="Pierre CHAVANNE" userId="2e2e2412-eb49-4787-bd3d-d17adeb25e11" providerId="ADAL" clId="{8E769656-82DF-4740-BA14-9D4801EE0342}" dt="2023-12-11T09:36:38.906" v="282" actId="478"/>
          <ac:spMkLst>
            <pc:docMk/>
            <pc:sldMk cId="4082308843" sldId="262"/>
            <ac:spMk id="5" creationId="{564F27D4-0A32-3D7C-B15B-87046F2C08DC}"/>
          </ac:spMkLst>
        </pc:spChg>
        <pc:cxnChg chg="add del mod">
          <ac:chgData name="Pierre CHAVANNE" userId="2e2e2412-eb49-4787-bd3d-d17adeb25e11" providerId="ADAL" clId="{8E769656-82DF-4740-BA14-9D4801EE0342}" dt="2023-12-11T10:41:29.681" v="2213" actId="478"/>
          <ac:cxnSpMkLst>
            <pc:docMk/>
            <pc:sldMk cId="4082308843" sldId="262"/>
            <ac:cxnSpMk id="8" creationId="{4CC1FEC9-64E8-8D69-7BE6-DE0140B216FA}"/>
          </ac:cxnSpMkLst>
        </pc:cxnChg>
        <pc:cxnChg chg="add del mod">
          <ac:chgData name="Pierre CHAVANNE" userId="2e2e2412-eb49-4787-bd3d-d17adeb25e11" providerId="ADAL" clId="{8E769656-82DF-4740-BA14-9D4801EE0342}" dt="2023-12-11T10:46:12.896" v="2637" actId="478"/>
          <ac:cxnSpMkLst>
            <pc:docMk/>
            <pc:sldMk cId="4082308843" sldId="262"/>
            <ac:cxnSpMk id="9" creationId="{CAE3560D-EEEC-2B7C-04B8-94CAA35F4197}"/>
          </ac:cxnSpMkLst>
        </pc:cxnChg>
        <pc:cxnChg chg="add del mod">
          <ac:chgData name="Pierre CHAVANNE" userId="2e2e2412-eb49-4787-bd3d-d17adeb25e11" providerId="ADAL" clId="{8E769656-82DF-4740-BA14-9D4801EE0342}" dt="2023-12-11T10:49:55.952" v="2817" actId="478"/>
          <ac:cxnSpMkLst>
            <pc:docMk/>
            <pc:sldMk cId="4082308843" sldId="262"/>
            <ac:cxnSpMk id="10" creationId="{3CAB8894-D50B-7C30-2E4B-953A2A3693C3}"/>
          </ac:cxnSpMkLst>
        </pc:cxnChg>
      </pc:sldChg>
      <pc:sldChg chg="addSp delSp modSp new mod ord">
        <pc:chgData name="Pierre CHAVANNE" userId="2e2e2412-eb49-4787-bd3d-d17adeb25e11" providerId="ADAL" clId="{8E769656-82DF-4740-BA14-9D4801EE0342}" dt="2023-12-11T15:19:33.301" v="11415" actId="1076"/>
        <pc:sldMkLst>
          <pc:docMk/>
          <pc:sldMk cId="2964386278" sldId="263"/>
        </pc:sldMkLst>
        <pc:spChg chg="mod">
          <ac:chgData name="Pierre CHAVANNE" userId="2e2e2412-eb49-4787-bd3d-d17adeb25e11" providerId="ADAL" clId="{8E769656-82DF-4740-BA14-9D4801EE0342}" dt="2023-12-11T10:29:45.270" v="1832" actId="1036"/>
          <ac:spMkLst>
            <pc:docMk/>
            <pc:sldMk cId="2964386278" sldId="263"/>
            <ac:spMk id="2" creationId="{280C2519-8BB3-2F7D-4555-40F725410B11}"/>
          </ac:spMkLst>
        </pc:spChg>
        <pc:spChg chg="mod">
          <ac:chgData name="Pierre CHAVANNE" userId="2e2e2412-eb49-4787-bd3d-d17adeb25e11" providerId="ADAL" clId="{8E769656-82DF-4740-BA14-9D4801EE0342}" dt="2023-12-11T09:33:53.742" v="154" actId="1076"/>
          <ac:spMkLst>
            <pc:docMk/>
            <pc:sldMk cId="2964386278" sldId="263"/>
            <ac:spMk id="3" creationId="{26BAED19-711E-BEB5-8E19-FB66663AC2AB}"/>
          </ac:spMkLst>
        </pc:spChg>
        <pc:spChg chg="add mod">
          <ac:chgData name="Pierre CHAVANNE" userId="2e2e2412-eb49-4787-bd3d-d17adeb25e11" providerId="ADAL" clId="{8E769656-82DF-4740-BA14-9D4801EE0342}" dt="2023-12-11T15:19:26.635" v="11413" actId="14100"/>
          <ac:spMkLst>
            <pc:docMk/>
            <pc:sldMk cId="2964386278" sldId="263"/>
            <ac:spMk id="5" creationId="{A5213FAA-6475-D02B-8027-FF6E764AAD7A}"/>
          </ac:spMkLst>
        </pc:spChg>
        <pc:spChg chg="add del mod">
          <ac:chgData name="Pierre CHAVANNE" userId="2e2e2412-eb49-4787-bd3d-d17adeb25e11" providerId="ADAL" clId="{8E769656-82DF-4740-BA14-9D4801EE0342}" dt="2023-12-11T15:16:43.006" v="11373" actId="478"/>
          <ac:spMkLst>
            <pc:docMk/>
            <pc:sldMk cId="2964386278" sldId="263"/>
            <ac:spMk id="8" creationId="{19CCD2DA-4B32-030A-2DC1-29AAE9BDEDE4}"/>
          </ac:spMkLst>
        </pc:spChg>
        <pc:spChg chg="add del mod">
          <ac:chgData name="Pierre CHAVANNE" userId="2e2e2412-eb49-4787-bd3d-d17adeb25e11" providerId="ADAL" clId="{8E769656-82DF-4740-BA14-9D4801EE0342}" dt="2023-12-11T10:28:17.649" v="1789" actId="478"/>
          <ac:spMkLst>
            <pc:docMk/>
            <pc:sldMk cId="2964386278" sldId="263"/>
            <ac:spMk id="8" creationId="{FBC6074B-AFE5-FA9A-115C-79E76A9B26BC}"/>
          </ac:spMkLst>
        </pc:spChg>
        <pc:spChg chg="add del mod">
          <ac:chgData name="Pierre CHAVANNE" userId="2e2e2412-eb49-4787-bd3d-d17adeb25e11" providerId="ADAL" clId="{8E769656-82DF-4740-BA14-9D4801EE0342}" dt="2023-12-11T15:16:43.939" v="11374" actId="478"/>
          <ac:spMkLst>
            <pc:docMk/>
            <pc:sldMk cId="2964386278" sldId="263"/>
            <ac:spMk id="9" creationId="{CAB7D54E-9E32-374E-374A-A5C4E746B93A}"/>
          </ac:spMkLst>
        </pc:spChg>
        <pc:spChg chg="add del mod">
          <ac:chgData name="Pierre CHAVANNE" userId="2e2e2412-eb49-4787-bd3d-d17adeb25e11" providerId="ADAL" clId="{8E769656-82DF-4740-BA14-9D4801EE0342}" dt="2023-12-11T15:17:40.470" v="11389" actId="478"/>
          <ac:spMkLst>
            <pc:docMk/>
            <pc:sldMk cId="2964386278" sldId="263"/>
            <ac:spMk id="10" creationId="{D168F3F8-4102-9906-AEAB-11AA8B21C8CF}"/>
          </ac:spMkLst>
        </pc:spChg>
        <pc:spChg chg="add del mod">
          <ac:chgData name="Pierre CHAVANNE" userId="2e2e2412-eb49-4787-bd3d-d17adeb25e11" providerId="ADAL" clId="{8E769656-82DF-4740-BA14-9D4801EE0342}" dt="2023-12-11T15:17:40.977" v="11390" actId="478"/>
          <ac:spMkLst>
            <pc:docMk/>
            <pc:sldMk cId="2964386278" sldId="263"/>
            <ac:spMk id="11" creationId="{93BEFD25-697D-07AA-1393-8984D990F277}"/>
          </ac:spMkLst>
        </pc:spChg>
        <pc:spChg chg="add del mod">
          <ac:chgData name="Pierre CHAVANNE" userId="2e2e2412-eb49-4787-bd3d-d17adeb25e11" providerId="ADAL" clId="{8E769656-82DF-4740-BA14-9D4801EE0342}" dt="2023-12-11T10:28:02.432" v="1788" actId="478"/>
          <ac:spMkLst>
            <pc:docMk/>
            <pc:sldMk cId="2964386278" sldId="263"/>
            <ac:spMk id="13" creationId="{0B8563BD-AB45-B7AE-9F4B-E1F58B5D33E1}"/>
          </ac:spMkLst>
        </pc:spChg>
        <pc:spChg chg="add mod">
          <ac:chgData name="Pierre CHAVANNE" userId="2e2e2412-eb49-4787-bd3d-d17adeb25e11" providerId="ADAL" clId="{8E769656-82DF-4740-BA14-9D4801EE0342}" dt="2023-12-11T15:19:24.574" v="11412" actId="14100"/>
          <ac:spMkLst>
            <pc:docMk/>
            <pc:sldMk cId="2964386278" sldId="263"/>
            <ac:spMk id="13" creationId="{C1532E47-4DA2-E6AC-27BE-25BE2AC4F3D3}"/>
          </ac:spMkLst>
        </pc:spChg>
        <pc:spChg chg="add mod ord">
          <ac:chgData name="Pierre CHAVANNE" userId="2e2e2412-eb49-4787-bd3d-d17adeb25e11" providerId="ADAL" clId="{8E769656-82DF-4740-BA14-9D4801EE0342}" dt="2023-12-11T15:14:23.261" v="11364" actId="14100"/>
          <ac:spMkLst>
            <pc:docMk/>
            <pc:sldMk cId="2964386278" sldId="263"/>
            <ac:spMk id="14" creationId="{8E03C77A-7B15-59B8-C6E5-1ECA0A33A2EE}"/>
          </ac:spMkLst>
        </pc:spChg>
        <pc:spChg chg="add mod">
          <ac:chgData name="Pierre CHAVANNE" userId="2e2e2412-eb49-4787-bd3d-d17adeb25e11" providerId="ADAL" clId="{8E769656-82DF-4740-BA14-9D4801EE0342}" dt="2023-12-11T15:19:07.514" v="11406" actId="14100"/>
          <ac:spMkLst>
            <pc:docMk/>
            <pc:sldMk cId="2964386278" sldId="263"/>
            <ac:spMk id="15" creationId="{C00BE6D4-7DEF-3EAB-9F92-380EB5516DD0}"/>
          </ac:spMkLst>
        </pc:spChg>
        <pc:grpChg chg="add del mod">
          <ac:chgData name="Pierre CHAVANNE" userId="2e2e2412-eb49-4787-bd3d-d17adeb25e11" providerId="ADAL" clId="{8E769656-82DF-4740-BA14-9D4801EE0342}" dt="2023-12-11T15:19:31.553" v="11414" actId="478"/>
          <ac:grpSpMkLst>
            <pc:docMk/>
            <pc:sldMk cId="2964386278" sldId="263"/>
            <ac:grpSpMk id="16" creationId="{46A89466-D990-AEC8-6429-09A9B2CF658C}"/>
          </ac:grpSpMkLst>
        </pc:grpChg>
        <pc:picChg chg="add mod">
          <ac:chgData name="Pierre CHAVANNE" userId="2e2e2412-eb49-4787-bd3d-d17adeb25e11" providerId="ADAL" clId="{8E769656-82DF-4740-BA14-9D4801EE0342}" dt="2023-12-11T10:30:04.260" v="1834" actId="1076"/>
          <ac:picMkLst>
            <pc:docMk/>
            <pc:sldMk cId="2964386278" sldId="263"/>
            <ac:picMk id="4" creationId="{DA9C6765-9134-4906-BF0A-2C0ACF8721D4}"/>
          </ac:picMkLst>
        </pc:picChg>
        <pc:picChg chg="add mod ord">
          <ac:chgData name="Pierre CHAVANNE" userId="2e2e2412-eb49-4787-bd3d-d17adeb25e11" providerId="ADAL" clId="{8E769656-82DF-4740-BA14-9D4801EE0342}" dt="2023-12-11T15:14:25.618" v="11365" actId="1076"/>
          <ac:picMkLst>
            <pc:docMk/>
            <pc:sldMk cId="2964386278" sldId="263"/>
            <ac:picMk id="6" creationId="{DE70728E-759A-571C-009A-719239202512}"/>
          </ac:picMkLst>
        </pc:picChg>
        <pc:picChg chg="add mod ord">
          <ac:chgData name="Pierre CHAVANNE" userId="2e2e2412-eb49-4787-bd3d-d17adeb25e11" providerId="ADAL" clId="{8E769656-82DF-4740-BA14-9D4801EE0342}" dt="2023-12-11T15:14:27.007" v="11366" actId="1076"/>
          <ac:picMkLst>
            <pc:docMk/>
            <pc:sldMk cId="2964386278" sldId="263"/>
            <ac:picMk id="7" creationId="{CD523F58-C667-257D-E3F4-F3C76381C5BF}"/>
          </ac:picMkLst>
        </pc:picChg>
        <pc:picChg chg="add del mod">
          <ac:chgData name="Pierre CHAVANNE" userId="2e2e2412-eb49-4787-bd3d-d17adeb25e11" providerId="ADAL" clId="{8E769656-82DF-4740-BA14-9D4801EE0342}" dt="2023-12-11T15:14:11.493" v="11360" actId="478"/>
          <ac:picMkLst>
            <pc:docMk/>
            <pc:sldMk cId="2964386278" sldId="263"/>
            <ac:picMk id="9" creationId="{CB75D265-BFAB-A5AB-D16B-AF0123BD31A7}"/>
          </ac:picMkLst>
        </pc:picChg>
        <pc:picChg chg="add del mod">
          <ac:chgData name="Pierre CHAVANNE" userId="2e2e2412-eb49-4787-bd3d-d17adeb25e11" providerId="ADAL" clId="{8E769656-82DF-4740-BA14-9D4801EE0342}" dt="2023-12-11T15:14:11.898" v="11361" actId="478"/>
          <ac:picMkLst>
            <pc:docMk/>
            <pc:sldMk cId="2964386278" sldId="263"/>
            <ac:picMk id="10" creationId="{1DB53D81-6C3F-C54A-FCE9-578A2AE13A0D}"/>
          </ac:picMkLst>
        </pc:picChg>
        <pc:picChg chg="add mod">
          <ac:chgData name="Pierre CHAVANNE" userId="2e2e2412-eb49-4787-bd3d-d17adeb25e11" providerId="ADAL" clId="{8E769656-82DF-4740-BA14-9D4801EE0342}" dt="2023-12-11T15:19:33.301" v="11415" actId="1076"/>
          <ac:picMkLst>
            <pc:docMk/>
            <pc:sldMk cId="2964386278" sldId="263"/>
            <ac:picMk id="12" creationId="{D292E5C9-5A15-B9AB-9DF3-5734DB7FFA03}"/>
          </ac:picMkLst>
        </pc:picChg>
        <pc:picChg chg="add del mod">
          <ac:chgData name="Pierre CHAVANNE" userId="2e2e2412-eb49-4787-bd3d-d17adeb25e11" providerId="ADAL" clId="{8E769656-82DF-4740-BA14-9D4801EE0342}" dt="2023-12-11T15:18:59.943" v="11404" actId="478"/>
          <ac:picMkLst>
            <pc:docMk/>
            <pc:sldMk cId="2964386278" sldId="263"/>
            <ac:picMk id="18" creationId="{BF7FD730-A5B3-918D-50E5-0AE5E49CA6C8}"/>
          </ac:picMkLst>
        </pc:picChg>
      </pc:sldChg>
      <pc:sldChg chg="addSp delSp modSp add mod">
        <pc:chgData name="Pierre CHAVANNE" userId="2e2e2412-eb49-4787-bd3d-d17adeb25e11" providerId="ADAL" clId="{8E769656-82DF-4740-BA14-9D4801EE0342}" dt="2023-12-11T10:50:11.499" v="2861" actId="478"/>
        <pc:sldMkLst>
          <pc:docMk/>
          <pc:sldMk cId="181288734" sldId="264"/>
        </pc:sldMkLst>
        <pc:spChg chg="mod">
          <ac:chgData name="Pierre CHAVANNE" userId="2e2e2412-eb49-4787-bd3d-d17adeb25e11" providerId="ADAL" clId="{8E769656-82DF-4740-BA14-9D4801EE0342}" dt="2023-12-11T10:50:03.106" v="2839" actId="1037"/>
          <ac:spMkLst>
            <pc:docMk/>
            <pc:sldMk cId="181288734" sldId="264"/>
            <ac:spMk id="2" creationId="{E52B8373-62D1-544B-7A5C-41B622D6A38F}"/>
          </ac:spMkLst>
        </pc:spChg>
        <pc:spChg chg="del">
          <ac:chgData name="Pierre CHAVANNE" userId="2e2e2412-eb49-4787-bd3d-d17adeb25e11" providerId="ADAL" clId="{8E769656-82DF-4740-BA14-9D4801EE0342}" dt="2023-12-11T10:41:40.427" v="2215" actId="478"/>
          <ac:spMkLst>
            <pc:docMk/>
            <pc:sldMk cId="181288734" sldId="264"/>
            <ac:spMk id="3" creationId="{03E5E2B5-68D7-C512-4F38-EEC22E20C105}"/>
          </ac:spMkLst>
        </pc:spChg>
        <pc:spChg chg="mod">
          <ac:chgData name="Pierre CHAVANNE" userId="2e2e2412-eb49-4787-bd3d-d17adeb25e11" providerId="ADAL" clId="{8E769656-82DF-4740-BA14-9D4801EE0342}" dt="2023-12-11T10:50:07.872" v="2860" actId="1038"/>
          <ac:spMkLst>
            <pc:docMk/>
            <pc:sldMk cId="181288734" sldId="264"/>
            <ac:spMk id="4" creationId="{430F12B2-8A30-D6A2-6AC7-ABAE7B02E283}"/>
          </ac:spMkLst>
        </pc:spChg>
        <pc:cxnChg chg="add del mod">
          <ac:chgData name="Pierre CHAVANNE" userId="2e2e2412-eb49-4787-bd3d-d17adeb25e11" providerId="ADAL" clId="{8E769656-82DF-4740-BA14-9D4801EE0342}" dt="2023-12-11T10:41:51.171" v="2231" actId="478"/>
          <ac:cxnSpMkLst>
            <pc:docMk/>
            <pc:sldMk cId="181288734" sldId="264"/>
            <ac:cxnSpMk id="5" creationId="{E0189C07-B3B2-463F-146C-8814FACD7881}"/>
          </ac:cxnSpMkLst>
        </pc:cxnChg>
        <pc:cxnChg chg="add del mod">
          <ac:chgData name="Pierre CHAVANNE" userId="2e2e2412-eb49-4787-bd3d-d17adeb25e11" providerId="ADAL" clId="{8E769656-82DF-4740-BA14-9D4801EE0342}" dt="2023-12-11T10:50:11.499" v="2861" actId="478"/>
          <ac:cxnSpMkLst>
            <pc:docMk/>
            <pc:sldMk cId="181288734" sldId="264"/>
            <ac:cxnSpMk id="7" creationId="{75C43A36-8F67-2423-25B0-CDEAB72BB297}"/>
          </ac:cxnSpMkLst>
        </pc:cxnChg>
      </pc:sldChg>
      <pc:sldChg chg="addSp delSp modSp add mod">
        <pc:chgData name="Pierre CHAVANNE" userId="2e2e2412-eb49-4787-bd3d-d17adeb25e11" providerId="ADAL" clId="{8E769656-82DF-4740-BA14-9D4801EE0342}" dt="2023-12-11T11:10:07.685" v="4098" actId="113"/>
        <pc:sldMkLst>
          <pc:docMk/>
          <pc:sldMk cId="67575323" sldId="265"/>
        </pc:sldMkLst>
        <pc:spChg chg="mod">
          <ac:chgData name="Pierre CHAVANNE" userId="2e2e2412-eb49-4787-bd3d-d17adeb25e11" providerId="ADAL" clId="{8E769656-82DF-4740-BA14-9D4801EE0342}" dt="2023-12-11T10:50:21.948" v="2898" actId="1038"/>
          <ac:spMkLst>
            <pc:docMk/>
            <pc:sldMk cId="67575323" sldId="265"/>
            <ac:spMk id="2" creationId="{E52B8373-62D1-544B-7A5C-41B622D6A38F}"/>
          </ac:spMkLst>
        </pc:spChg>
        <pc:spChg chg="del">
          <ac:chgData name="Pierre CHAVANNE" userId="2e2e2412-eb49-4787-bd3d-d17adeb25e11" providerId="ADAL" clId="{8E769656-82DF-4740-BA14-9D4801EE0342}" dt="2023-12-11T10:41:55.602" v="2232" actId="478"/>
          <ac:spMkLst>
            <pc:docMk/>
            <pc:sldMk cId="67575323" sldId="265"/>
            <ac:spMk id="3" creationId="{03E5E2B5-68D7-C512-4F38-EEC22E20C105}"/>
          </ac:spMkLst>
        </pc:spChg>
        <pc:spChg chg="mod">
          <ac:chgData name="Pierre CHAVANNE" userId="2e2e2412-eb49-4787-bd3d-d17adeb25e11" providerId="ADAL" clId="{8E769656-82DF-4740-BA14-9D4801EE0342}" dt="2023-12-11T11:10:07.685" v="4098" actId="113"/>
          <ac:spMkLst>
            <pc:docMk/>
            <pc:sldMk cId="67575323" sldId="265"/>
            <ac:spMk id="4" creationId="{430F12B2-8A30-D6A2-6AC7-ABAE7B02E283}"/>
          </ac:spMkLst>
        </pc:spChg>
        <pc:cxnChg chg="add del mod">
          <ac:chgData name="Pierre CHAVANNE" userId="2e2e2412-eb49-4787-bd3d-d17adeb25e11" providerId="ADAL" clId="{8E769656-82DF-4740-BA14-9D4801EE0342}" dt="2023-12-11T10:42:09.636" v="2257" actId="478"/>
          <ac:cxnSpMkLst>
            <pc:docMk/>
            <pc:sldMk cId="67575323" sldId="265"/>
            <ac:cxnSpMk id="5" creationId="{6B43D0E9-A408-872B-660F-1BE02BE5F64A}"/>
          </ac:cxnSpMkLst>
        </pc:cxnChg>
        <pc:cxnChg chg="add del mod">
          <ac:chgData name="Pierre CHAVANNE" userId="2e2e2412-eb49-4787-bd3d-d17adeb25e11" providerId="ADAL" clId="{8E769656-82DF-4740-BA14-9D4801EE0342}" dt="2023-12-11T10:50:25.597" v="2899" actId="478"/>
          <ac:cxnSpMkLst>
            <pc:docMk/>
            <pc:sldMk cId="67575323" sldId="265"/>
            <ac:cxnSpMk id="7" creationId="{7217F0D5-B7EF-2DA2-0A25-89101838CF11}"/>
          </ac:cxnSpMkLst>
        </pc:cxnChg>
      </pc:sldChg>
      <pc:sldChg chg="addSp delSp modSp add mod">
        <pc:chgData name="Pierre CHAVANNE" userId="2e2e2412-eb49-4787-bd3d-d17adeb25e11" providerId="ADAL" clId="{8E769656-82DF-4740-BA14-9D4801EE0342}" dt="2023-12-11T15:21:43.937" v="11631" actId="20577"/>
        <pc:sldMkLst>
          <pc:docMk/>
          <pc:sldMk cId="2725814262" sldId="266"/>
        </pc:sldMkLst>
        <pc:spChg chg="del">
          <ac:chgData name="Pierre CHAVANNE" userId="2e2e2412-eb49-4787-bd3d-d17adeb25e11" providerId="ADAL" clId="{8E769656-82DF-4740-BA14-9D4801EE0342}" dt="2023-12-11T09:37:59.482" v="325" actId="478"/>
          <ac:spMkLst>
            <pc:docMk/>
            <pc:sldMk cId="2725814262" sldId="266"/>
            <ac:spMk id="2" creationId="{E52B8373-62D1-544B-7A5C-41B622D6A38F}"/>
          </ac:spMkLst>
        </pc:spChg>
        <pc:spChg chg="del">
          <ac:chgData name="Pierre CHAVANNE" userId="2e2e2412-eb49-4787-bd3d-d17adeb25e11" providerId="ADAL" clId="{8E769656-82DF-4740-BA14-9D4801EE0342}" dt="2023-12-11T09:37:57.726" v="324" actId="478"/>
          <ac:spMkLst>
            <pc:docMk/>
            <pc:sldMk cId="2725814262" sldId="266"/>
            <ac:spMk id="3" creationId="{03E5E2B5-68D7-C512-4F38-EEC22E20C105}"/>
          </ac:spMkLst>
        </pc:spChg>
        <pc:spChg chg="mod">
          <ac:chgData name="Pierre CHAVANNE" userId="2e2e2412-eb49-4787-bd3d-d17adeb25e11" providerId="ADAL" clId="{8E769656-82DF-4740-BA14-9D4801EE0342}" dt="2023-12-11T15:21:43.937" v="11631" actId="20577"/>
          <ac:spMkLst>
            <pc:docMk/>
            <pc:sldMk cId="2725814262" sldId="266"/>
            <ac:spMk id="4" creationId="{430F12B2-8A30-D6A2-6AC7-ABAE7B02E283}"/>
          </ac:spMkLst>
        </pc:spChg>
        <pc:spChg chg="add del mod">
          <ac:chgData name="Pierre CHAVANNE" userId="2e2e2412-eb49-4787-bd3d-d17adeb25e11" providerId="ADAL" clId="{8E769656-82DF-4740-BA14-9D4801EE0342}" dt="2023-12-11T09:38:00.890" v="326" actId="478"/>
          <ac:spMkLst>
            <pc:docMk/>
            <pc:sldMk cId="2725814262" sldId="266"/>
            <ac:spMk id="7" creationId="{F9B53765-D822-708D-8AD3-5D46E8F0CF1F}"/>
          </ac:spMkLst>
        </pc:spChg>
        <pc:cxnChg chg="add del mod">
          <ac:chgData name="Pierre CHAVANNE" userId="2e2e2412-eb49-4787-bd3d-d17adeb25e11" providerId="ADAL" clId="{8E769656-82DF-4740-BA14-9D4801EE0342}" dt="2023-12-11T10:50:31.905" v="2901"/>
          <ac:cxnSpMkLst>
            <pc:docMk/>
            <pc:sldMk cId="2725814262" sldId="266"/>
            <ac:cxnSpMk id="8" creationId="{0D2B8F5C-5F0D-3664-2241-FD9BC942643F}"/>
          </ac:cxnSpMkLst>
        </pc:cxnChg>
      </pc:sldChg>
      <pc:sldChg chg="addSp delSp modSp add mod">
        <pc:chgData name="Pierre CHAVANNE" userId="2e2e2412-eb49-4787-bd3d-d17adeb25e11" providerId="ADAL" clId="{8E769656-82DF-4740-BA14-9D4801EE0342}" dt="2023-12-11T15:22:29.230" v="11711"/>
        <pc:sldMkLst>
          <pc:docMk/>
          <pc:sldMk cId="4238583254" sldId="267"/>
        </pc:sldMkLst>
        <pc:spChg chg="mod">
          <ac:chgData name="Pierre CHAVANNE" userId="2e2e2412-eb49-4787-bd3d-d17adeb25e11" providerId="ADAL" clId="{8E769656-82DF-4740-BA14-9D4801EE0342}" dt="2023-12-11T10:50:38.175" v="2920" actId="1038"/>
          <ac:spMkLst>
            <pc:docMk/>
            <pc:sldMk cId="4238583254" sldId="267"/>
            <ac:spMk id="2" creationId="{E52B8373-62D1-544B-7A5C-41B622D6A38F}"/>
          </ac:spMkLst>
        </pc:spChg>
        <pc:spChg chg="del">
          <ac:chgData name="Pierre CHAVANNE" userId="2e2e2412-eb49-4787-bd3d-d17adeb25e11" providerId="ADAL" clId="{8E769656-82DF-4740-BA14-9D4801EE0342}" dt="2023-12-11T10:42:16.182" v="2259" actId="478"/>
          <ac:spMkLst>
            <pc:docMk/>
            <pc:sldMk cId="4238583254" sldId="267"/>
            <ac:spMk id="3" creationId="{03E5E2B5-68D7-C512-4F38-EEC22E20C105}"/>
          </ac:spMkLst>
        </pc:spChg>
        <pc:spChg chg="mod">
          <ac:chgData name="Pierre CHAVANNE" userId="2e2e2412-eb49-4787-bd3d-d17adeb25e11" providerId="ADAL" clId="{8E769656-82DF-4740-BA14-9D4801EE0342}" dt="2023-12-11T15:22:29.230" v="11711"/>
          <ac:spMkLst>
            <pc:docMk/>
            <pc:sldMk cId="4238583254" sldId="267"/>
            <ac:spMk id="4" creationId="{430F12B2-8A30-D6A2-6AC7-ABAE7B02E283}"/>
          </ac:spMkLst>
        </pc:spChg>
        <pc:cxnChg chg="add del mod">
          <ac:chgData name="Pierre CHAVANNE" userId="2e2e2412-eb49-4787-bd3d-d17adeb25e11" providerId="ADAL" clId="{8E769656-82DF-4740-BA14-9D4801EE0342}" dt="2023-12-11T10:42:23.211" v="2278" actId="478"/>
          <ac:cxnSpMkLst>
            <pc:docMk/>
            <pc:sldMk cId="4238583254" sldId="267"/>
            <ac:cxnSpMk id="5" creationId="{E516CCF6-2E3F-7C0B-FAE7-ADD60BABFAC4}"/>
          </ac:cxnSpMkLst>
        </pc:cxnChg>
        <pc:cxnChg chg="add del mod">
          <ac:chgData name="Pierre CHAVANNE" userId="2e2e2412-eb49-4787-bd3d-d17adeb25e11" providerId="ADAL" clId="{8E769656-82DF-4740-BA14-9D4801EE0342}" dt="2023-12-11T10:50:41.435" v="2921" actId="478"/>
          <ac:cxnSpMkLst>
            <pc:docMk/>
            <pc:sldMk cId="4238583254" sldId="267"/>
            <ac:cxnSpMk id="7" creationId="{A2909502-E70E-6211-B758-E2C0B65875AD}"/>
          </ac:cxnSpMkLst>
        </pc:cxnChg>
      </pc:sldChg>
      <pc:sldChg chg="addSp delSp modSp add mod">
        <pc:chgData name="Pierre CHAVANNE" userId="2e2e2412-eb49-4787-bd3d-d17adeb25e11" providerId="ADAL" clId="{8E769656-82DF-4740-BA14-9D4801EE0342}" dt="2023-12-11T10:48:52.235" v="2760" actId="478"/>
        <pc:sldMkLst>
          <pc:docMk/>
          <pc:sldMk cId="2357043671" sldId="268"/>
        </pc:sldMkLst>
        <pc:spChg chg="mod">
          <ac:chgData name="Pierre CHAVANNE" userId="2e2e2412-eb49-4787-bd3d-d17adeb25e11" providerId="ADAL" clId="{8E769656-82DF-4740-BA14-9D4801EE0342}" dt="2023-12-11T10:46:56.739" v="2667" actId="1036"/>
          <ac:spMkLst>
            <pc:docMk/>
            <pc:sldMk cId="2357043671" sldId="268"/>
            <ac:spMk id="2" creationId="{E52B8373-62D1-544B-7A5C-41B622D6A38F}"/>
          </ac:spMkLst>
        </pc:spChg>
        <pc:spChg chg="del">
          <ac:chgData name="Pierre CHAVANNE" userId="2e2e2412-eb49-4787-bd3d-d17adeb25e11" providerId="ADAL" clId="{8E769656-82DF-4740-BA14-9D4801EE0342}" dt="2023-12-11T09:38:53.546" v="371" actId="478"/>
          <ac:spMkLst>
            <pc:docMk/>
            <pc:sldMk cId="2357043671" sldId="268"/>
            <ac:spMk id="3" creationId="{03E5E2B5-68D7-C512-4F38-EEC22E20C105}"/>
          </ac:spMkLst>
        </pc:spChg>
        <pc:spChg chg="del">
          <ac:chgData name="Pierre CHAVANNE" userId="2e2e2412-eb49-4787-bd3d-d17adeb25e11" providerId="ADAL" clId="{8E769656-82DF-4740-BA14-9D4801EE0342}" dt="2023-12-11T09:38:54.943" v="372" actId="478"/>
          <ac:spMkLst>
            <pc:docMk/>
            <pc:sldMk cId="2357043671" sldId="268"/>
            <ac:spMk id="4" creationId="{430F12B2-8A30-D6A2-6AC7-ABAE7B02E283}"/>
          </ac:spMkLst>
        </pc:spChg>
        <pc:spChg chg="add del mod">
          <ac:chgData name="Pierre CHAVANNE" userId="2e2e2412-eb49-4787-bd3d-d17adeb25e11" providerId="ADAL" clId="{8E769656-82DF-4740-BA14-9D4801EE0342}" dt="2023-12-11T09:38:56.900" v="373" actId="478"/>
          <ac:spMkLst>
            <pc:docMk/>
            <pc:sldMk cId="2357043671" sldId="268"/>
            <ac:spMk id="7" creationId="{CF2CD723-8FA4-17A2-5A7D-BEC5E42A4E6F}"/>
          </ac:spMkLst>
        </pc:spChg>
        <pc:spChg chg="add mod">
          <ac:chgData name="Pierre CHAVANNE" userId="2e2e2412-eb49-4787-bd3d-d17adeb25e11" providerId="ADAL" clId="{8E769656-82DF-4740-BA14-9D4801EE0342}" dt="2023-12-11T10:47:03.695" v="2668" actId="1076"/>
          <ac:spMkLst>
            <pc:docMk/>
            <pc:sldMk cId="2357043671" sldId="268"/>
            <ac:spMk id="8" creationId="{2F9FB4FF-81EC-1CDC-52DE-524663965391}"/>
          </ac:spMkLst>
        </pc:spChg>
        <pc:spChg chg="add mod">
          <ac:chgData name="Pierre CHAVANNE" userId="2e2e2412-eb49-4787-bd3d-d17adeb25e11" providerId="ADAL" clId="{8E769656-82DF-4740-BA14-9D4801EE0342}" dt="2023-12-11T10:47:20.059" v="2670" actId="1076"/>
          <ac:spMkLst>
            <pc:docMk/>
            <pc:sldMk cId="2357043671" sldId="268"/>
            <ac:spMk id="9" creationId="{61CD79CE-384D-F20B-7137-68B516B52B1D}"/>
          </ac:spMkLst>
        </pc:spChg>
        <pc:spChg chg="add del mod">
          <ac:chgData name="Pierre CHAVANNE" userId="2e2e2412-eb49-4787-bd3d-d17adeb25e11" providerId="ADAL" clId="{8E769656-82DF-4740-BA14-9D4801EE0342}" dt="2023-12-11T10:10:47.402" v="1587" actId="478"/>
          <ac:spMkLst>
            <pc:docMk/>
            <pc:sldMk cId="2357043671" sldId="268"/>
            <ac:spMk id="10" creationId="{2663E7D4-374A-30D6-0863-A49A3BADD20C}"/>
          </ac:spMkLst>
        </pc:spChg>
        <pc:picChg chg="add del mod">
          <ac:chgData name="Pierre CHAVANNE" userId="2e2e2412-eb49-4787-bd3d-d17adeb25e11" providerId="ADAL" clId="{8E769656-82DF-4740-BA14-9D4801EE0342}" dt="2023-12-11T10:10:47.870" v="1588" actId="478"/>
          <ac:picMkLst>
            <pc:docMk/>
            <pc:sldMk cId="2357043671" sldId="268"/>
            <ac:picMk id="11" creationId="{C9F4DD16-EBFF-215D-E31B-63083FF7255E}"/>
          </ac:picMkLst>
        </pc:picChg>
        <pc:picChg chg="add del mod">
          <ac:chgData name="Pierre CHAVANNE" userId="2e2e2412-eb49-4787-bd3d-d17adeb25e11" providerId="ADAL" clId="{8E769656-82DF-4740-BA14-9D4801EE0342}" dt="2023-12-11T10:10:48.377" v="1589" actId="478"/>
          <ac:picMkLst>
            <pc:docMk/>
            <pc:sldMk cId="2357043671" sldId="268"/>
            <ac:picMk id="12" creationId="{6475F7F1-AA55-C6BA-3379-072A7112FB5B}"/>
          </ac:picMkLst>
        </pc:picChg>
        <pc:picChg chg="add mod">
          <ac:chgData name="Pierre CHAVANNE" userId="2e2e2412-eb49-4787-bd3d-d17adeb25e11" providerId="ADAL" clId="{8E769656-82DF-4740-BA14-9D4801EE0342}" dt="2023-12-11T10:11:45.476" v="1652" actId="207"/>
          <ac:picMkLst>
            <pc:docMk/>
            <pc:sldMk cId="2357043671" sldId="268"/>
            <ac:picMk id="13" creationId="{7FB49E06-6225-686D-92D3-20CB5AC6E5D5}"/>
          </ac:picMkLst>
        </pc:picChg>
        <pc:cxnChg chg="add del mod">
          <ac:chgData name="Pierre CHAVANNE" userId="2e2e2412-eb49-4787-bd3d-d17adeb25e11" providerId="ADAL" clId="{8E769656-82DF-4740-BA14-9D4801EE0342}" dt="2023-12-11T10:48:52.235" v="2760" actId="478"/>
          <ac:cxnSpMkLst>
            <pc:docMk/>
            <pc:sldMk cId="2357043671" sldId="268"/>
            <ac:cxnSpMk id="14" creationId="{D7CABE47-2801-F070-5DBC-EC0F9BF401A1}"/>
          </ac:cxnSpMkLst>
        </pc:cxnChg>
      </pc:sldChg>
      <pc:sldChg chg="addSp delSp modSp add mod">
        <pc:chgData name="Pierre CHAVANNE" userId="2e2e2412-eb49-4787-bd3d-d17adeb25e11" providerId="ADAL" clId="{8E769656-82DF-4740-BA14-9D4801EE0342}" dt="2023-12-11T11:19:32.874" v="4479" actId="6549"/>
        <pc:sldMkLst>
          <pc:docMk/>
          <pc:sldMk cId="2486415949" sldId="269"/>
        </pc:sldMkLst>
        <pc:spChg chg="mod">
          <ac:chgData name="Pierre CHAVANNE" userId="2e2e2412-eb49-4787-bd3d-d17adeb25e11" providerId="ADAL" clId="{8E769656-82DF-4740-BA14-9D4801EE0342}" dt="2023-12-11T10:51:04.613" v="2942" actId="1037"/>
          <ac:spMkLst>
            <pc:docMk/>
            <pc:sldMk cId="2486415949" sldId="269"/>
            <ac:spMk id="2" creationId="{E52B8373-62D1-544B-7A5C-41B622D6A38F}"/>
          </ac:spMkLst>
        </pc:spChg>
        <pc:spChg chg="mod">
          <ac:chgData name="Pierre CHAVANNE" userId="2e2e2412-eb49-4787-bd3d-d17adeb25e11" providerId="ADAL" clId="{8E769656-82DF-4740-BA14-9D4801EE0342}" dt="2023-12-11T10:51:04.613" v="2942" actId="1037"/>
          <ac:spMkLst>
            <pc:docMk/>
            <pc:sldMk cId="2486415949" sldId="269"/>
            <ac:spMk id="3" creationId="{03E5E2B5-68D7-C512-4F38-EEC22E20C105}"/>
          </ac:spMkLst>
        </pc:spChg>
        <pc:spChg chg="del mod">
          <ac:chgData name="Pierre CHAVANNE" userId="2e2e2412-eb49-4787-bd3d-d17adeb25e11" providerId="ADAL" clId="{8E769656-82DF-4740-BA14-9D4801EE0342}" dt="2023-12-11T11:18:23.023" v="4433" actId="478"/>
          <ac:spMkLst>
            <pc:docMk/>
            <pc:sldMk cId="2486415949" sldId="269"/>
            <ac:spMk id="4" creationId="{430F12B2-8A30-D6A2-6AC7-ABAE7B02E283}"/>
          </ac:spMkLst>
        </pc:spChg>
        <pc:spChg chg="add del mod">
          <ac:chgData name="Pierre CHAVANNE" userId="2e2e2412-eb49-4787-bd3d-d17adeb25e11" providerId="ADAL" clId="{8E769656-82DF-4740-BA14-9D4801EE0342}" dt="2023-12-11T10:53:31.862" v="2967"/>
          <ac:spMkLst>
            <pc:docMk/>
            <pc:sldMk cId="2486415949" sldId="269"/>
            <ac:spMk id="9" creationId="{BFA2137D-A045-CE75-FA66-CB303629C8E8}"/>
          </ac:spMkLst>
        </pc:spChg>
        <pc:spChg chg="add del mod">
          <ac:chgData name="Pierre CHAVANNE" userId="2e2e2412-eb49-4787-bd3d-d17adeb25e11" providerId="ADAL" clId="{8E769656-82DF-4740-BA14-9D4801EE0342}" dt="2023-12-11T11:18:25.382" v="4435" actId="478"/>
          <ac:spMkLst>
            <pc:docMk/>
            <pc:sldMk cId="2486415949" sldId="269"/>
            <ac:spMk id="11" creationId="{D42B2ECC-299E-DCD6-B364-1A445B02993D}"/>
          </ac:spMkLst>
        </pc:spChg>
        <pc:spChg chg="add mod">
          <ac:chgData name="Pierre CHAVANNE" userId="2e2e2412-eb49-4787-bd3d-d17adeb25e11" providerId="ADAL" clId="{8E769656-82DF-4740-BA14-9D4801EE0342}" dt="2023-12-11T11:19:32.874" v="4479" actId="6549"/>
          <ac:spMkLst>
            <pc:docMk/>
            <pc:sldMk cId="2486415949" sldId="269"/>
            <ac:spMk id="12" creationId="{DB21758E-0427-E0F2-26A1-74CB4E597C82}"/>
          </ac:spMkLst>
        </pc:spChg>
        <pc:picChg chg="add del mod ord">
          <ac:chgData name="Pierre CHAVANNE" userId="2e2e2412-eb49-4787-bd3d-d17adeb25e11" providerId="ADAL" clId="{8E769656-82DF-4740-BA14-9D4801EE0342}" dt="2023-12-11T11:16:39.894" v="4393" actId="478"/>
          <ac:picMkLst>
            <pc:docMk/>
            <pc:sldMk cId="2486415949" sldId="269"/>
            <ac:picMk id="5" creationId="{7BE3016E-514F-7E0E-8843-C13A0FF45837}"/>
          </ac:picMkLst>
        </pc:picChg>
        <pc:picChg chg="add mod">
          <ac:chgData name="Pierre CHAVANNE" userId="2e2e2412-eb49-4787-bd3d-d17adeb25e11" providerId="ADAL" clId="{8E769656-82DF-4740-BA14-9D4801EE0342}" dt="2023-12-11T11:18:35.759" v="4440" actId="1076"/>
          <ac:picMkLst>
            <pc:docMk/>
            <pc:sldMk cId="2486415949" sldId="269"/>
            <ac:picMk id="14" creationId="{C48F4905-60E1-DB4F-B9F1-BF1545B47875}"/>
          </ac:picMkLst>
        </pc:picChg>
        <pc:cxnChg chg="add del mod">
          <ac:chgData name="Pierre CHAVANNE" userId="2e2e2412-eb49-4787-bd3d-d17adeb25e11" providerId="ADAL" clId="{8E769656-82DF-4740-BA14-9D4801EE0342}" dt="2023-12-11T10:42:49.937" v="2323" actId="478"/>
          <ac:cxnSpMkLst>
            <pc:docMk/>
            <pc:sldMk cId="2486415949" sldId="269"/>
            <ac:cxnSpMk id="7" creationId="{62110ED8-080F-572D-1B61-97E1D4949DAE}"/>
          </ac:cxnSpMkLst>
        </pc:cxnChg>
        <pc:cxnChg chg="add del mod">
          <ac:chgData name="Pierre CHAVANNE" userId="2e2e2412-eb49-4787-bd3d-d17adeb25e11" providerId="ADAL" clId="{8E769656-82DF-4740-BA14-9D4801EE0342}" dt="2023-12-11T10:51:07.859" v="2943" actId="478"/>
          <ac:cxnSpMkLst>
            <pc:docMk/>
            <pc:sldMk cId="2486415949" sldId="269"/>
            <ac:cxnSpMk id="8" creationId="{A546A395-1BD9-344D-A09F-1F8AD0EC3C96}"/>
          </ac:cxnSpMkLst>
        </pc:cxnChg>
      </pc:sldChg>
      <pc:sldChg chg="new del">
        <pc:chgData name="Pierre CHAVANNE" userId="2e2e2412-eb49-4787-bd3d-d17adeb25e11" providerId="ADAL" clId="{8E769656-82DF-4740-BA14-9D4801EE0342}" dt="2023-12-11T09:39:07.166" v="375" actId="47"/>
        <pc:sldMkLst>
          <pc:docMk/>
          <pc:sldMk cId="2731858354" sldId="269"/>
        </pc:sldMkLst>
      </pc:sldChg>
      <pc:sldChg chg="addSp delSp modSp add mod ord">
        <pc:chgData name="Pierre CHAVANNE" userId="2e2e2412-eb49-4787-bd3d-d17adeb25e11" providerId="ADAL" clId="{8E769656-82DF-4740-BA14-9D4801EE0342}" dt="2023-12-11T11:19:13.127" v="4461" actId="20577"/>
        <pc:sldMkLst>
          <pc:docMk/>
          <pc:sldMk cId="3672889325" sldId="270"/>
        </pc:sldMkLst>
        <pc:spChg chg="mod">
          <ac:chgData name="Pierre CHAVANNE" userId="2e2e2412-eb49-4787-bd3d-d17adeb25e11" providerId="ADAL" clId="{8E769656-82DF-4740-BA14-9D4801EE0342}" dt="2023-12-11T10:51:18.367" v="2960" actId="1037"/>
          <ac:spMkLst>
            <pc:docMk/>
            <pc:sldMk cId="3672889325" sldId="270"/>
            <ac:spMk id="2" creationId="{E52B8373-62D1-544B-7A5C-41B622D6A38F}"/>
          </ac:spMkLst>
        </pc:spChg>
        <pc:spChg chg="mod">
          <ac:chgData name="Pierre CHAVANNE" userId="2e2e2412-eb49-4787-bd3d-d17adeb25e11" providerId="ADAL" clId="{8E769656-82DF-4740-BA14-9D4801EE0342}" dt="2023-12-11T10:51:18.367" v="2960" actId="1037"/>
          <ac:spMkLst>
            <pc:docMk/>
            <pc:sldMk cId="3672889325" sldId="270"/>
            <ac:spMk id="3" creationId="{03E5E2B5-68D7-C512-4F38-EEC22E20C105}"/>
          </ac:spMkLst>
        </pc:spChg>
        <pc:spChg chg="del mod">
          <ac:chgData name="Pierre CHAVANNE" userId="2e2e2412-eb49-4787-bd3d-d17adeb25e11" providerId="ADAL" clId="{8E769656-82DF-4740-BA14-9D4801EE0342}" dt="2023-12-11T10:51:44.530" v="2961" actId="478"/>
          <ac:spMkLst>
            <pc:docMk/>
            <pc:sldMk cId="3672889325" sldId="270"/>
            <ac:spMk id="4" creationId="{430F12B2-8A30-D6A2-6AC7-ABAE7B02E283}"/>
          </ac:spMkLst>
        </pc:spChg>
        <pc:spChg chg="add del mod">
          <ac:chgData name="Pierre CHAVANNE" userId="2e2e2412-eb49-4787-bd3d-d17adeb25e11" providerId="ADAL" clId="{8E769656-82DF-4740-BA14-9D4801EE0342}" dt="2023-12-11T10:51:47.304" v="2963" actId="478"/>
          <ac:spMkLst>
            <pc:docMk/>
            <pc:sldMk cId="3672889325" sldId="270"/>
            <ac:spMk id="11" creationId="{485189DC-830E-E32B-0B72-1CFC1D40C2A7}"/>
          </ac:spMkLst>
        </pc:spChg>
        <pc:spChg chg="add del mod">
          <ac:chgData name="Pierre CHAVANNE" userId="2e2e2412-eb49-4787-bd3d-d17adeb25e11" providerId="ADAL" clId="{8E769656-82DF-4740-BA14-9D4801EE0342}" dt="2023-12-11T11:16:51.911" v="4394" actId="478"/>
          <ac:spMkLst>
            <pc:docMk/>
            <pc:sldMk cId="3672889325" sldId="270"/>
            <ac:spMk id="12" creationId="{BCF07CB2-D224-B0B8-EC46-CF62216E438E}"/>
          </ac:spMkLst>
        </pc:spChg>
        <pc:spChg chg="add mod">
          <ac:chgData name="Pierre CHAVANNE" userId="2e2e2412-eb49-4787-bd3d-d17adeb25e11" providerId="ADAL" clId="{8E769656-82DF-4740-BA14-9D4801EE0342}" dt="2023-12-11T11:19:13.127" v="4461" actId="20577"/>
          <ac:spMkLst>
            <pc:docMk/>
            <pc:sldMk cId="3672889325" sldId="270"/>
            <ac:spMk id="13" creationId="{F438FE05-34B9-C7C6-ED32-9CBC00F932FF}"/>
          </ac:spMkLst>
        </pc:spChg>
        <pc:picChg chg="del">
          <ac:chgData name="Pierre CHAVANNE" userId="2e2e2412-eb49-4787-bd3d-d17adeb25e11" providerId="ADAL" clId="{8E769656-82DF-4740-BA14-9D4801EE0342}" dt="2023-12-11T09:41:05.640" v="466" actId="478"/>
          <ac:picMkLst>
            <pc:docMk/>
            <pc:sldMk cId="3672889325" sldId="270"/>
            <ac:picMk id="5" creationId="{7BE3016E-514F-7E0E-8843-C13A0FF45837}"/>
          </ac:picMkLst>
        </pc:picChg>
        <pc:picChg chg="add del mod">
          <ac:chgData name="Pierre CHAVANNE" userId="2e2e2412-eb49-4787-bd3d-d17adeb25e11" providerId="ADAL" clId="{8E769656-82DF-4740-BA14-9D4801EE0342}" dt="2023-12-11T11:16:37.990" v="4391" actId="478"/>
          <ac:picMkLst>
            <pc:docMk/>
            <pc:sldMk cId="3672889325" sldId="270"/>
            <ac:picMk id="7" creationId="{251FE3FA-BCAD-1EA3-9403-F40D2C42A727}"/>
          </ac:picMkLst>
        </pc:picChg>
        <pc:picChg chg="add mod">
          <ac:chgData name="Pierre CHAVANNE" userId="2e2e2412-eb49-4787-bd3d-d17adeb25e11" providerId="ADAL" clId="{8E769656-82DF-4740-BA14-9D4801EE0342}" dt="2023-12-11T11:17:13.063" v="4410" actId="1076"/>
          <ac:picMkLst>
            <pc:docMk/>
            <pc:sldMk cId="3672889325" sldId="270"/>
            <ac:picMk id="15" creationId="{C04F17B4-BA15-EEE0-0C5D-7384DD14D42B}"/>
          </ac:picMkLst>
        </pc:picChg>
        <pc:cxnChg chg="add del mod">
          <ac:chgData name="Pierre CHAVANNE" userId="2e2e2412-eb49-4787-bd3d-d17adeb25e11" providerId="ADAL" clId="{8E769656-82DF-4740-BA14-9D4801EE0342}" dt="2023-12-11T10:43:03.128" v="2362" actId="478"/>
          <ac:cxnSpMkLst>
            <pc:docMk/>
            <pc:sldMk cId="3672889325" sldId="270"/>
            <ac:cxnSpMk id="8" creationId="{3474A30A-F207-AA2A-F78C-64308E88BB2A}"/>
          </ac:cxnSpMkLst>
        </pc:cxnChg>
        <pc:cxnChg chg="add del mod">
          <ac:chgData name="Pierre CHAVANNE" userId="2e2e2412-eb49-4787-bd3d-d17adeb25e11" providerId="ADAL" clId="{8E769656-82DF-4740-BA14-9D4801EE0342}" dt="2023-12-11T10:53:38.362" v="2968" actId="478"/>
          <ac:cxnSpMkLst>
            <pc:docMk/>
            <pc:sldMk cId="3672889325" sldId="270"/>
            <ac:cxnSpMk id="9" creationId="{CD87F8EA-7B23-C96D-5B79-87780F6F8B44}"/>
          </ac:cxnSpMkLst>
        </pc:cxnChg>
      </pc:sldChg>
      <pc:sldChg chg="addSp delSp modSp add mod ord">
        <pc:chgData name="Pierre CHAVANNE" userId="2e2e2412-eb49-4787-bd3d-d17adeb25e11" providerId="ADAL" clId="{8E769656-82DF-4740-BA14-9D4801EE0342}" dt="2023-12-11T11:19:01.690" v="4457" actId="14100"/>
        <pc:sldMkLst>
          <pc:docMk/>
          <pc:sldMk cId="4144618837" sldId="271"/>
        </pc:sldMkLst>
        <pc:spChg chg="mod">
          <ac:chgData name="Pierre CHAVANNE" userId="2e2e2412-eb49-4787-bd3d-d17adeb25e11" providerId="ADAL" clId="{8E769656-82DF-4740-BA14-9D4801EE0342}" dt="2023-12-11T10:54:14.056" v="2998" actId="1038"/>
          <ac:spMkLst>
            <pc:docMk/>
            <pc:sldMk cId="4144618837" sldId="271"/>
            <ac:spMk id="2" creationId="{E52B8373-62D1-544B-7A5C-41B622D6A38F}"/>
          </ac:spMkLst>
        </pc:spChg>
        <pc:spChg chg="del">
          <ac:chgData name="Pierre CHAVANNE" userId="2e2e2412-eb49-4787-bd3d-d17adeb25e11" providerId="ADAL" clId="{8E769656-82DF-4740-BA14-9D4801EE0342}" dt="2023-12-11T09:41:27.710" v="488" actId="478"/>
          <ac:spMkLst>
            <pc:docMk/>
            <pc:sldMk cId="4144618837" sldId="271"/>
            <ac:spMk id="3" creationId="{03E5E2B5-68D7-C512-4F38-EEC22E20C105}"/>
          </ac:spMkLst>
        </pc:spChg>
        <pc:spChg chg="del mod">
          <ac:chgData name="Pierre CHAVANNE" userId="2e2e2412-eb49-4787-bd3d-d17adeb25e11" providerId="ADAL" clId="{8E769656-82DF-4740-BA14-9D4801EE0342}" dt="2023-12-11T10:52:06.721" v="2964" actId="478"/>
          <ac:spMkLst>
            <pc:docMk/>
            <pc:sldMk cId="4144618837" sldId="271"/>
            <ac:spMk id="4" creationId="{430F12B2-8A30-D6A2-6AC7-ABAE7B02E283}"/>
          </ac:spMkLst>
        </pc:spChg>
        <pc:spChg chg="add mod">
          <ac:chgData name="Pierre CHAVANNE" userId="2e2e2412-eb49-4787-bd3d-d17adeb25e11" providerId="ADAL" clId="{8E769656-82DF-4740-BA14-9D4801EE0342}" dt="2023-12-11T10:54:14.056" v="2998" actId="1038"/>
          <ac:spMkLst>
            <pc:docMk/>
            <pc:sldMk cId="4144618837" sldId="271"/>
            <ac:spMk id="8" creationId="{7BB7C057-C6A3-1E4D-E22A-BD82F2D7641D}"/>
          </ac:spMkLst>
        </pc:spChg>
        <pc:spChg chg="add del mod">
          <ac:chgData name="Pierre CHAVANNE" userId="2e2e2412-eb49-4787-bd3d-d17adeb25e11" providerId="ADAL" clId="{8E769656-82DF-4740-BA14-9D4801EE0342}" dt="2023-12-11T10:52:08.125" v="2965" actId="478"/>
          <ac:spMkLst>
            <pc:docMk/>
            <pc:sldMk cId="4144618837" sldId="271"/>
            <ac:spMk id="11" creationId="{D631254D-6957-1248-BA9F-43F8EBD6C4C7}"/>
          </ac:spMkLst>
        </pc:spChg>
        <pc:spChg chg="add mod">
          <ac:chgData name="Pierre CHAVANNE" userId="2e2e2412-eb49-4787-bd3d-d17adeb25e11" providerId="ADAL" clId="{8E769656-82DF-4740-BA14-9D4801EE0342}" dt="2023-12-11T11:19:01.690" v="4457" actId="14100"/>
          <ac:spMkLst>
            <pc:docMk/>
            <pc:sldMk cId="4144618837" sldId="271"/>
            <ac:spMk id="13" creationId="{181D0185-7D87-97E0-06B8-05F5B69CE7DE}"/>
          </ac:spMkLst>
        </pc:spChg>
        <pc:picChg chg="add del mod">
          <ac:chgData name="Pierre CHAVANNE" userId="2e2e2412-eb49-4787-bd3d-d17adeb25e11" providerId="ADAL" clId="{8E769656-82DF-4740-BA14-9D4801EE0342}" dt="2023-12-11T11:16:38.978" v="4392" actId="478"/>
          <ac:picMkLst>
            <pc:docMk/>
            <pc:sldMk cId="4144618837" sldId="271"/>
            <ac:picMk id="5" creationId="{B4CFA727-9361-42AD-AF96-721CE39529EB}"/>
          </ac:picMkLst>
        </pc:picChg>
        <pc:picChg chg="del">
          <ac:chgData name="Pierre CHAVANNE" userId="2e2e2412-eb49-4787-bd3d-d17adeb25e11" providerId="ADAL" clId="{8E769656-82DF-4740-BA14-9D4801EE0342}" dt="2023-12-11T09:41:15.796" v="470" actId="478"/>
          <ac:picMkLst>
            <pc:docMk/>
            <pc:sldMk cId="4144618837" sldId="271"/>
            <ac:picMk id="7" creationId="{251FE3FA-BCAD-1EA3-9403-F40D2C42A727}"/>
          </ac:picMkLst>
        </pc:picChg>
        <pc:picChg chg="add mod">
          <ac:chgData name="Pierre CHAVANNE" userId="2e2e2412-eb49-4787-bd3d-d17adeb25e11" providerId="ADAL" clId="{8E769656-82DF-4740-BA14-9D4801EE0342}" dt="2023-12-11T11:17:39.196" v="4424" actId="1076"/>
          <ac:picMkLst>
            <pc:docMk/>
            <pc:sldMk cId="4144618837" sldId="271"/>
            <ac:picMk id="15" creationId="{FA8239E8-D811-C9C6-A29F-FCB2ED1799F5}"/>
          </ac:picMkLst>
        </pc:picChg>
        <pc:cxnChg chg="add del mod">
          <ac:chgData name="Pierre CHAVANNE" userId="2e2e2412-eb49-4787-bd3d-d17adeb25e11" providerId="ADAL" clId="{8E769656-82DF-4740-BA14-9D4801EE0342}" dt="2023-12-11T10:43:15.168" v="2400" actId="478"/>
          <ac:cxnSpMkLst>
            <pc:docMk/>
            <pc:sldMk cId="4144618837" sldId="271"/>
            <ac:cxnSpMk id="9" creationId="{68CAE417-FFEA-8F75-4920-F4011FB720D0}"/>
          </ac:cxnSpMkLst>
        </pc:cxnChg>
        <pc:cxnChg chg="add del mod">
          <ac:chgData name="Pierre CHAVANNE" userId="2e2e2412-eb49-4787-bd3d-d17adeb25e11" providerId="ADAL" clId="{8E769656-82DF-4740-BA14-9D4801EE0342}" dt="2023-12-11T10:54:17.439" v="2999" actId="478"/>
          <ac:cxnSpMkLst>
            <pc:docMk/>
            <pc:sldMk cId="4144618837" sldId="271"/>
            <ac:cxnSpMk id="12" creationId="{A10947EC-B56E-10A2-3F3C-1CB594CD820F}"/>
          </ac:cxnSpMkLst>
        </pc:cxnChg>
      </pc:sldChg>
      <pc:sldChg chg="addSp delSp modSp add mod ord">
        <pc:chgData name="Pierre CHAVANNE" userId="2e2e2412-eb49-4787-bd3d-d17adeb25e11" providerId="ADAL" clId="{8E769656-82DF-4740-BA14-9D4801EE0342}" dt="2023-12-11T11:19:17.143" v="4462" actId="20577"/>
        <pc:sldMkLst>
          <pc:docMk/>
          <pc:sldMk cId="499594855" sldId="272"/>
        </pc:sldMkLst>
        <pc:spChg chg="mod">
          <ac:chgData name="Pierre CHAVANNE" userId="2e2e2412-eb49-4787-bd3d-d17adeb25e11" providerId="ADAL" clId="{8E769656-82DF-4740-BA14-9D4801EE0342}" dt="2023-12-11T10:54:24.676" v="3017" actId="1037"/>
          <ac:spMkLst>
            <pc:docMk/>
            <pc:sldMk cId="499594855" sldId="272"/>
            <ac:spMk id="2" creationId="{E52B8373-62D1-544B-7A5C-41B622D6A38F}"/>
          </ac:spMkLst>
        </pc:spChg>
        <pc:spChg chg="mod">
          <ac:chgData name="Pierre CHAVANNE" userId="2e2e2412-eb49-4787-bd3d-d17adeb25e11" providerId="ADAL" clId="{8E769656-82DF-4740-BA14-9D4801EE0342}" dt="2023-12-11T11:19:17.143" v="4462" actId="20577"/>
          <ac:spMkLst>
            <pc:docMk/>
            <pc:sldMk cId="499594855" sldId="272"/>
            <ac:spMk id="4" creationId="{430F12B2-8A30-D6A2-6AC7-ABAE7B02E283}"/>
          </ac:spMkLst>
        </pc:spChg>
        <pc:spChg chg="add mod">
          <ac:chgData name="Pierre CHAVANNE" userId="2e2e2412-eb49-4787-bd3d-d17adeb25e11" providerId="ADAL" clId="{8E769656-82DF-4740-BA14-9D4801EE0342}" dt="2023-12-11T10:54:24.676" v="3017" actId="1037"/>
          <ac:spMkLst>
            <pc:docMk/>
            <pc:sldMk cId="499594855" sldId="272"/>
            <ac:spMk id="7" creationId="{6AD4CBD7-D9A7-169D-4153-387F366F0D29}"/>
          </ac:spMkLst>
        </pc:spChg>
        <pc:picChg chg="add del mod">
          <ac:chgData name="Pierre CHAVANNE" userId="2e2e2412-eb49-4787-bd3d-d17adeb25e11" providerId="ADAL" clId="{8E769656-82DF-4740-BA14-9D4801EE0342}" dt="2023-12-11T11:15:29.534" v="4377" actId="478"/>
          <ac:picMkLst>
            <pc:docMk/>
            <pc:sldMk cId="499594855" sldId="272"/>
            <ac:picMk id="3" creationId="{BECDDFD3-B784-BC4A-DBEA-D2483B274AD1}"/>
          </ac:picMkLst>
        </pc:picChg>
        <pc:picChg chg="del">
          <ac:chgData name="Pierre CHAVANNE" userId="2e2e2412-eb49-4787-bd3d-d17adeb25e11" providerId="ADAL" clId="{8E769656-82DF-4740-BA14-9D4801EE0342}" dt="2023-12-11T09:41:52.917" v="518" actId="478"/>
          <ac:picMkLst>
            <pc:docMk/>
            <pc:sldMk cId="499594855" sldId="272"/>
            <ac:picMk id="5" creationId="{B4CFA727-9361-42AD-AF96-721CE39529EB}"/>
          </ac:picMkLst>
        </pc:picChg>
        <pc:picChg chg="add mod">
          <ac:chgData name="Pierre CHAVANNE" userId="2e2e2412-eb49-4787-bd3d-d17adeb25e11" providerId="ADAL" clId="{8E769656-82DF-4740-BA14-9D4801EE0342}" dt="2023-12-11T11:15:57.035" v="4390" actId="1076"/>
          <ac:picMkLst>
            <pc:docMk/>
            <pc:sldMk cId="499594855" sldId="272"/>
            <ac:picMk id="11" creationId="{2E30D7B4-25AE-2B09-FF4A-C8697EC5D836}"/>
          </ac:picMkLst>
        </pc:picChg>
        <pc:cxnChg chg="add del mod">
          <ac:chgData name="Pierre CHAVANNE" userId="2e2e2412-eb49-4787-bd3d-d17adeb25e11" providerId="ADAL" clId="{8E769656-82DF-4740-BA14-9D4801EE0342}" dt="2023-12-11T10:43:27.745" v="2432" actId="478"/>
          <ac:cxnSpMkLst>
            <pc:docMk/>
            <pc:sldMk cId="499594855" sldId="272"/>
            <ac:cxnSpMk id="8" creationId="{1DB2F1E4-D94D-746E-96DF-852023B69E24}"/>
          </ac:cxnSpMkLst>
        </pc:cxnChg>
        <pc:cxnChg chg="add del mod">
          <ac:chgData name="Pierre CHAVANNE" userId="2e2e2412-eb49-4787-bd3d-d17adeb25e11" providerId="ADAL" clId="{8E769656-82DF-4740-BA14-9D4801EE0342}" dt="2023-12-11T10:54:26.565" v="3018" actId="478"/>
          <ac:cxnSpMkLst>
            <pc:docMk/>
            <pc:sldMk cId="499594855" sldId="272"/>
            <ac:cxnSpMk id="9" creationId="{FA0122D4-D2A9-F4EF-453E-A9E75F8E22E1}"/>
          </ac:cxnSpMkLst>
        </pc:cxnChg>
      </pc:sldChg>
      <pc:sldChg chg="addSp delSp modSp add del mod">
        <pc:chgData name="Pierre CHAVANNE" userId="2e2e2412-eb49-4787-bd3d-d17adeb25e11" providerId="ADAL" clId="{8E769656-82DF-4740-BA14-9D4801EE0342}" dt="2023-12-11T10:47:59.523" v="2694" actId="47"/>
        <pc:sldMkLst>
          <pc:docMk/>
          <pc:sldMk cId="721891698" sldId="273"/>
        </pc:sldMkLst>
        <pc:spChg chg="mod">
          <ac:chgData name="Pierre CHAVANNE" userId="2e2e2412-eb49-4787-bd3d-d17adeb25e11" providerId="ADAL" clId="{8E769656-82DF-4740-BA14-9D4801EE0342}" dt="2023-12-11T09:42:55.362" v="596" actId="20577"/>
          <ac:spMkLst>
            <pc:docMk/>
            <pc:sldMk cId="721891698" sldId="273"/>
            <ac:spMk id="2" creationId="{E52B8373-62D1-544B-7A5C-41B622D6A38F}"/>
          </ac:spMkLst>
        </pc:spChg>
        <pc:spChg chg="add mod">
          <ac:chgData name="Pierre CHAVANNE" userId="2e2e2412-eb49-4787-bd3d-d17adeb25e11" providerId="ADAL" clId="{8E769656-82DF-4740-BA14-9D4801EE0342}" dt="2023-12-11T09:43:23.316" v="642" actId="14100"/>
          <ac:spMkLst>
            <pc:docMk/>
            <pc:sldMk cId="721891698" sldId="273"/>
            <ac:spMk id="3" creationId="{E705A79E-16A3-E045-2AA9-C06990D51039}"/>
          </ac:spMkLst>
        </pc:spChg>
        <pc:spChg chg="add mod">
          <ac:chgData name="Pierre CHAVANNE" userId="2e2e2412-eb49-4787-bd3d-d17adeb25e11" providerId="ADAL" clId="{8E769656-82DF-4740-BA14-9D4801EE0342}" dt="2023-12-11T10:11:53.256" v="1653"/>
          <ac:spMkLst>
            <pc:docMk/>
            <pc:sldMk cId="721891698" sldId="273"/>
            <ac:spMk id="4" creationId="{053DCC99-24C4-A623-8512-507DE33FB7FD}"/>
          </ac:spMkLst>
        </pc:spChg>
        <pc:picChg chg="add del mod">
          <ac:chgData name="Pierre CHAVANNE" userId="2e2e2412-eb49-4787-bd3d-d17adeb25e11" providerId="ADAL" clId="{8E769656-82DF-4740-BA14-9D4801EE0342}" dt="2023-12-11T10:11:56.055" v="1654" actId="478"/>
          <ac:picMkLst>
            <pc:docMk/>
            <pc:sldMk cId="721891698" sldId="273"/>
            <ac:picMk id="5" creationId="{35B52512-2DED-36A8-F10A-41638243231E}"/>
          </ac:picMkLst>
        </pc:picChg>
        <pc:picChg chg="add mod">
          <ac:chgData name="Pierre CHAVANNE" userId="2e2e2412-eb49-4787-bd3d-d17adeb25e11" providerId="ADAL" clId="{8E769656-82DF-4740-BA14-9D4801EE0342}" dt="2023-12-11T10:12:26.520" v="1672" actId="207"/>
          <ac:picMkLst>
            <pc:docMk/>
            <pc:sldMk cId="721891698" sldId="273"/>
            <ac:picMk id="7" creationId="{003781D5-56F8-BC22-E143-5DC7F5B24A64}"/>
          </ac:picMkLst>
        </pc:picChg>
      </pc:sldChg>
      <pc:sldChg chg="addSp delSp modSp add del mod">
        <pc:chgData name="Pierre CHAVANNE" userId="2e2e2412-eb49-4787-bd3d-d17adeb25e11" providerId="ADAL" clId="{8E769656-82DF-4740-BA14-9D4801EE0342}" dt="2023-12-11T10:48:39.978" v="2757" actId="47"/>
        <pc:sldMkLst>
          <pc:docMk/>
          <pc:sldMk cId="777855146" sldId="274"/>
        </pc:sldMkLst>
        <pc:spChg chg="mod">
          <ac:chgData name="Pierre CHAVANNE" userId="2e2e2412-eb49-4787-bd3d-d17adeb25e11" providerId="ADAL" clId="{8E769656-82DF-4740-BA14-9D4801EE0342}" dt="2023-12-11T09:44:36.383" v="827" actId="14100"/>
          <ac:spMkLst>
            <pc:docMk/>
            <pc:sldMk cId="777855146" sldId="274"/>
            <ac:spMk id="2" creationId="{E52B8373-62D1-544B-7A5C-41B622D6A38F}"/>
          </ac:spMkLst>
        </pc:spChg>
        <pc:spChg chg="mod">
          <ac:chgData name="Pierre CHAVANNE" userId="2e2e2412-eb49-4787-bd3d-d17adeb25e11" providerId="ADAL" clId="{8E769656-82DF-4740-BA14-9D4801EE0342}" dt="2023-12-11T09:57:21.942" v="1424" actId="14100"/>
          <ac:spMkLst>
            <pc:docMk/>
            <pc:sldMk cId="777855146" sldId="274"/>
            <ac:spMk id="3" creationId="{E705A79E-16A3-E045-2AA9-C06990D51039}"/>
          </ac:spMkLst>
        </pc:spChg>
        <pc:spChg chg="add mod">
          <ac:chgData name="Pierre CHAVANNE" userId="2e2e2412-eb49-4787-bd3d-d17adeb25e11" providerId="ADAL" clId="{8E769656-82DF-4740-BA14-9D4801EE0342}" dt="2023-12-11T10:12:36.969" v="1673"/>
          <ac:spMkLst>
            <pc:docMk/>
            <pc:sldMk cId="777855146" sldId="274"/>
            <ac:spMk id="4" creationId="{9BD60D75-5D74-B655-CEEF-56328F98ABAE}"/>
          </ac:spMkLst>
        </pc:spChg>
        <pc:picChg chg="add del mod">
          <ac:chgData name="Pierre CHAVANNE" userId="2e2e2412-eb49-4787-bd3d-d17adeb25e11" providerId="ADAL" clId="{8E769656-82DF-4740-BA14-9D4801EE0342}" dt="2023-12-11T10:12:39.121" v="1674" actId="478"/>
          <ac:picMkLst>
            <pc:docMk/>
            <pc:sldMk cId="777855146" sldId="274"/>
            <ac:picMk id="5" creationId="{FA837C1E-900A-5D2F-E46B-0CB12C8FC504}"/>
          </ac:picMkLst>
        </pc:picChg>
        <pc:picChg chg="add mod">
          <ac:chgData name="Pierre CHAVANNE" userId="2e2e2412-eb49-4787-bd3d-d17adeb25e11" providerId="ADAL" clId="{8E769656-82DF-4740-BA14-9D4801EE0342}" dt="2023-12-11T10:13:00.999" v="1676" actId="1076"/>
          <ac:picMkLst>
            <pc:docMk/>
            <pc:sldMk cId="777855146" sldId="274"/>
            <ac:picMk id="7" creationId="{EAB5CC44-1794-E5C5-478F-2A2AC6CF053E}"/>
          </ac:picMkLst>
        </pc:picChg>
      </pc:sldChg>
      <pc:sldChg chg="addSp delSp modSp add mod">
        <pc:chgData name="Pierre CHAVANNE" userId="2e2e2412-eb49-4787-bd3d-d17adeb25e11" providerId="ADAL" clId="{8E769656-82DF-4740-BA14-9D4801EE0342}" dt="2023-12-11T12:16:18.589" v="5204"/>
        <pc:sldMkLst>
          <pc:docMk/>
          <pc:sldMk cId="298777523" sldId="275"/>
        </pc:sldMkLst>
        <pc:spChg chg="mod">
          <ac:chgData name="Pierre CHAVANNE" userId="2e2e2412-eb49-4787-bd3d-d17adeb25e11" providerId="ADAL" clId="{8E769656-82DF-4740-BA14-9D4801EE0342}" dt="2023-12-11T10:54:38.076" v="3031" actId="1038"/>
          <ac:spMkLst>
            <pc:docMk/>
            <pc:sldMk cId="298777523" sldId="275"/>
            <ac:spMk id="2" creationId="{E52B8373-62D1-544B-7A5C-41B622D6A38F}"/>
          </ac:spMkLst>
        </pc:spChg>
        <pc:spChg chg="del mod">
          <ac:chgData name="Pierre CHAVANNE" userId="2e2e2412-eb49-4787-bd3d-d17adeb25e11" providerId="ADAL" clId="{8E769656-82DF-4740-BA14-9D4801EE0342}" dt="2023-12-11T12:07:52.761" v="4643" actId="478"/>
          <ac:spMkLst>
            <pc:docMk/>
            <pc:sldMk cId="298777523" sldId="275"/>
            <ac:spMk id="4" creationId="{430F12B2-8A30-D6A2-6AC7-ABAE7B02E283}"/>
          </ac:spMkLst>
        </pc:spChg>
        <pc:spChg chg="mod">
          <ac:chgData name="Pierre CHAVANNE" userId="2e2e2412-eb49-4787-bd3d-d17adeb25e11" providerId="ADAL" clId="{8E769656-82DF-4740-BA14-9D4801EE0342}" dt="2023-12-11T10:54:38.076" v="3031" actId="1038"/>
          <ac:spMkLst>
            <pc:docMk/>
            <pc:sldMk cId="298777523" sldId="275"/>
            <ac:spMk id="7" creationId="{6AD4CBD7-D9A7-169D-4153-387F366F0D29}"/>
          </ac:spMkLst>
        </pc:spChg>
        <pc:spChg chg="add mod">
          <ac:chgData name="Pierre CHAVANNE" userId="2e2e2412-eb49-4787-bd3d-d17adeb25e11" providerId="ADAL" clId="{8E769656-82DF-4740-BA14-9D4801EE0342}" dt="2023-12-11T12:16:03.074" v="5202" actId="1037"/>
          <ac:spMkLst>
            <pc:docMk/>
            <pc:sldMk cId="298777523" sldId="275"/>
            <ac:spMk id="9" creationId="{2FA19DED-FC42-5C03-5A67-076E5E493EC6}"/>
          </ac:spMkLst>
        </pc:spChg>
        <pc:spChg chg="add mod">
          <ac:chgData name="Pierre CHAVANNE" userId="2e2e2412-eb49-4787-bd3d-d17adeb25e11" providerId="ADAL" clId="{8E769656-82DF-4740-BA14-9D4801EE0342}" dt="2023-12-11T12:15:50.415" v="5196" actId="14100"/>
          <ac:spMkLst>
            <pc:docMk/>
            <pc:sldMk cId="298777523" sldId="275"/>
            <ac:spMk id="10" creationId="{18B9EFBA-7F92-0321-957B-DC732358BF5F}"/>
          </ac:spMkLst>
        </pc:spChg>
        <pc:spChg chg="add del mod">
          <ac:chgData name="Pierre CHAVANNE" userId="2e2e2412-eb49-4787-bd3d-d17adeb25e11" providerId="ADAL" clId="{8E769656-82DF-4740-BA14-9D4801EE0342}" dt="2023-12-11T12:07:54.783" v="4644" actId="478"/>
          <ac:spMkLst>
            <pc:docMk/>
            <pc:sldMk cId="298777523" sldId="275"/>
            <ac:spMk id="20" creationId="{42ABAF68-E031-2E1E-19F3-EF7233BD33D4}"/>
          </ac:spMkLst>
        </pc:spChg>
        <pc:picChg chg="del">
          <ac:chgData name="Pierre CHAVANNE" userId="2e2e2412-eb49-4787-bd3d-d17adeb25e11" providerId="ADAL" clId="{8E769656-82DF-4740-BA14-9D4801EE0342}" dt="2023-12-11T09:46:24.841" v="936" actId="478"/>
          <ac:picMkLst>
            <pc:docMk/>
            <pc:sldMk cId="298777523" sldId="275"/>
            <ac:picMk id="3" creationId="{BECDDFD3-B784-BC4A-DBEA-D2483B274AD1}"/>
          </ac:picMkLst>
        </pc:picChg>
        <pc:picChg chg="add del mod">
          <ac:chgData name="Pierre CHAVANNE" userId="2e2e2412-eb49-4787-bd3d-d17adeb25e11" providerId="ADAL" clId="{8E769656-82DF-4740-BA14-9D4801EE0342}" dt="2023-12-11T11:19:50.545" v="4480" actId="478"/>
          <ac:picMkLst>
            <pc:docMk/>
            <pc:sldMk cId="298777523" sldId="275"/>
            <ac:picMk id="5" creationId="{3ADCDBE3-8F22-7644-D52F-78E9BA59D639}"/>
          </ac:picMkLst>
        </pc:picChg>
        <pc:picChg chg="add del mod">
          <ac:chgData name="Pierre CHAVANNE" userId="2e2e2412-eb49-4787-bd3d-d17adeb25e11" providerId="ADAL" clId="{8E769656-82DF-4740-BA14-9D4801EE0342}" dt="2023-12-11T09:47:19.751" v="952" actId="478"/>
          <ac:picMkLst>
            <pc:docMk/>
            <pc:sldMk cId="298777523" sldId="275"/>
            <ac:picMk id="8" creationId="{71BD64D6-1FE8-CE6E-0F43-E23BAD0CC428}"/>
          </ac:picMkLst>
        </pc:picChg>
        <pc:picChg chg="add mod ord">
          <ac:chgData name="Pierre CHAVANNE" userId="2e2e2412-eb49-4787-bd3d-d17adeb25e11" providerId="ADAL" clId="{8E769656-82DF-4740-BA14-9D4801EE0342}" dt="2023-12-11T12:15:38.323" v="5194" actId="1076"/>
          <ac:picMkLst>
            <pc:docMk/>
            <pc:sldMk cId="298777523" sldId="275"/>
            <ac:picMk id="14" creationId="{138E1A5E-0028-327D-37F4-751A057584F4}"/>
          </ac:picMkLst>
        </pc:picChg>
        <pc:cxnChg chg="add del mod">
          <ac:chgData name="Pierre CHAVANNE" userId="2e2e2412-eb49-4787-bd3d-d17adeb25e11" providerId="ADAL" clId="{8E769656-82DF-4740-BA14-9D4801EE0342}" dt="2023-12-11T10:43:43.805" v="2454" actId="478"/>
          <ac:cxnSpMkLst>
            <pc:docMk/>
            <pc:sldMk cId="298777523" sldId="275"/>
            <ac:cxnSpMk id="11" creationId="{7CC1501C-EB59-5C43-8F3B-4DA229F6AD16}"/>
          </ac:cxnSpMkLst>
        </pc:cxnChg>
        <pc:cxnChg chg="add del mod">
          <ac:chgData name="Pierre CHAVANNE" userId="2e2e2412-eb49-4787-bd3d-d17adeb25e11" providerId="ADAL" clId="{8E769656-82DF-4740-BA14-9D4801EE0342}" dt="2023-12-11T10:54:41.742" v="3032" actId="478"/>
          <ac:cxnSpMkLst>
            <pc:docMk/>
            <pc:sldMk cId="298777523" sldId="275"/>
            <ac:cxnSpMk id="12" creationId="{3162535A-FAD7-538B-04FB-3BAAA6FCD31B}"/>
          </ac:cxnSpMkLst>
        </pc:cxnChg>
        <pc:cxnChg chg="add del mod">
          <ac:chgData name="Pierre CHAVANNE" userId="2e2e2412-eb49-4787-bd3d-d17adeb25e11" providerId="ADAL" clId="{8E769656-82DF-4740-BA14-9D4801EE0342}" dt="2023-12-11T12:15:01.090" v="5176" actId="478"/>
          <ac:cxnSpMkLst>
            <pc:docMk/>
            <pc:sldMk cId="298777523" sldId="275"/>
            <ac:cxnSpMk id="16" creationId="{D12D264B-FBEF-85C8-D666-B782E968DDEA}"/>
          </ac:cxnSpMkLst>
        </pc:cxnChg>
        <pc:cxnChg chg="add del mod">
          <ac:chgData name="Pierre CHAVANNE" userId="2e2e2412-eb49-4787-bd3d-d17adeb25e11" providerId="ADAL" clId="{8E769656-82DF-4740-BA14-9D4801EE0342}" dt="2023-12-11T12:15:01.090" v="5176" actId="478"/>
          <ac:cxnSpMkLst>
            <pc:docMk/>
            <pc:sldMk cId="298777523" sldId="275"/>
            <ac:cxnSpMk id="17" creationId="{11383E40-2BEA-6FCF-3367-03DC1C978FF8}"/>
          </ac:cxnSpMkLst>
        </pc:cxnChg>
        <pc:cxnChg chg="add del mod">
          <ac:chgData name="Pierre CHAVANNE" userId="2e2e2412-eb49-4787-bd3d-d17adeb25e11" providerId="ADAL" clId="{8E769656-82DF-4740-BA14-9D4801EE0342}" dt="2023-12-11T12:16:18.589" v="5204"/>
          <ac:cxnSpMkLst>
            <pc:docMk/>
            <pc:sldMk cId="298777523" sldId="275"/>
            <ac:cxnSpMk id="21" creationId="{9175B06C-EF0E-A816-6D48-9BACC33C8B92}"/>
          </ac:cxnSpMkLst>
        </pc:cxnChg>
        <pc:cxnChg chg="add del mod">
          <ac:chgData name="Pierre CHAVANNE" userId="2e2e2412-eb49-4787-bd3d-d17adeb25e11" providerId="ADAL" clId="{8E769656-82DF-4740-BA14-9D4801EE0342}" dt="2023-12-11T12:16:18.589" v="5204"/>
          <ac:cxnSpMkLst>
            <pc:docMk/>
            <pc:sldMk cId="298777523" sldId="275"/>
            <ac:cxnSpMk id="22" creationId="{EFFCB7E7-9415-6D92-614C-9865A6EB9AED}"/>
          </ac:cxnSpMkLst>
        </pc:cxnChg>
      </pc:sldChg>
      <pc:sldChg chg="addSp delSp modSp add mod">
        <pc:chgData name="Pierre CHAVANNE" userId="2e2e2412-eb49-4787-bd3d-d17adeb25e11" providerId="ADAL" clId="{8E769656-82DF-4740-BA14-9D4801EE0342}" dt="2023-12-11T12:16:34.523" v="5216" actId="1076"/>
        <pc:sldMkLst>
          <pc:docMk/>
          <pc:sldMk cId="1172579897" sldId="276"/>
        </pc:sldMkLst>
        <pc:spChg chg="del">
          <ac:chgData name="Pierre CHAVANNE" userId="2e2e2412-eb49-4787-bd3d-d17adeb25e11" providerId="ADAL" clId="{8E769656-82DF-4740-BA14-9D4801EE0342}" dt="2023-12-11T09:48:17.867" v="967" actId="478"/>
          <ac:spMkLst>
            <pc:docMk/>
            <pc:sldMk cId="1172579897" sldId="276"/>
            <ac:spMk id="2" creationId="{E52B8373-62D1-544B-7A5C-41B622D6A38F}"/>
          </ac:spMkLst>
        </pc:spChg>
        <pc:spChg chg="del">
          <ac:chgData name="Pierre CHAVANNE" userId="2e2e2412-eb49-4787-bd3d-d17adeb25e11" providerId="ADAL" clId="{8E769656-82DF-4740-BA14-9D4801EE0342}" dt="2023-12-11T09:48:14.137" v="964" actId="478"/>
          <ac:spMkLst>
            <pc:docMk/>
            <pc:sldMk cId="1172579897" sldId="276"/>
            <ac:spMk id="4" creationId="{430F12B2-8A30-D6A2-6AC7-ABAE7B02E283}"/>
          </ac:spMkLst>
        </pc:spChg>
        <pc:spChg chg="del">
          <ac:chgData name="Pierre CHAVANNE" userId="2e2e2412-eb49-4787-bd3d-d17adeb25e11" providerId="ADAL" clId="{8E769656-82DF-4740-BA14-9D4801EE0342}" dt="2023-12-11T09:48:15.573" v="965" actId="478"/>
          <ac:spMkLst>
            <pc:docMk/>
            <pc:sldMk cId="1172579897" sldId="276"/>
            <ac:spMk id="7" creationId="{6AD4CBD7-D9A7-169D-4153-387F366F0D29}"/>
          </ac:spMkLst>
        </pc:spChg>
        <pc:spChg chg="add del mod">
          <ac:chgData name="Pierre CHAVANNE" userId="2e2e2412-eb49-4787-bd3d-d17adeb25e11" providerId="ADAL" clId="{8E769656-82DF-4740-BA14-9D4801EE0342}" dt="2023-12-11T09:48:20.489" v="969" actId="478"/>
          <ac:spMkLst>
            <pc:docMk/>
            <pc:sldMk cId="1172579897" sldId="276"/>
            <ac:spMk id="8" creationId="{8293C6A4-604A-45DA-1D7F-ECA1CAE9859F}"/>
          </ac:spMkLst>
        </pc:spChg>
        <pc:spChg chg="del mod">
          <ac:chgData name="Pierre CHAVANNE" userId="2e2e2412-eb49-4787-bd3d-d17adeb25e11" providerId="ADAL" clId="{8E769656-82DF-4740-BA14-9D4801EE0342}" dt="2023-12-11T09:48:11.023" v="962" actId="478"/>
          <ac:spMkLst>
            <pc:docMk/>
            <pc:sldMk cId="1172579897" sldId="276"/>
            <ac:spMk id="9" creationId="{2FA19DED-FC42-5C03-5A67-076E5E493EC6}"/>
          </ac:spMkLst>
        </pc:spChg>
        <pc:spChg chg="del">
          <ac:chgData name="Pierre CHAVANNE" userId="2e2e2412-eb49-4787-bd3d-d17adeb25e11" providerId="ADAL" clId="{8E769656-82DF-4740-BA14-9D4801EE0342}" dt="2023-12-11T09:48:12.540" v="963" actId="478"/>
          <ac:spMkLst>
            <pc:docMk/>
            <pc:sldMk cId="1172579897" sldId="276"/>
            <ac:spMk id="10" creationId="{18B9EFBA-7F92-0321-957B-DC732358BF5F}"/>
          </ac:spMkLst>
        </pc:spChg>
        <pc:spChg chg="add del mod">
          <ac:chgData name="Pierre CHAVANNE" userId="2e2e2412-eb49-4787-bd3d-d17adeb25e11" providerId="ADAL" clId="{8E769656-82DF-4740-BA14-9D4801EE0342}" dt="2023-12-11T09:48:16.622" v="966" actId="478"/>
          <ac:spMkLst>
            <pc:docMk/>
            <pc:sldMk cId="1172579897" sldId="276"/>
            <ac:spMk id="12" creationId="{56885543-6DD5-A800-0976-54F07145918D}"/>
          </ac:spMkLst>
        </pc:spChg>
        <pc:spChg chg="add del mod">
          <ac:chgData name="Pierre CHAVANNE" userId="2e2e2412-eb49-4787-bd3d-d17adeb25e11" providerId="ADAL" clId="{8E769656-82DF-4740-BA14-9D4801EE0342}" dt="2023-12-11T09:48:19.073" v="968" actId="478"/>
          <ac:spMkLst>
            <pc:docMk/>
            <pc:sldMk cId="1172579897" sldId="276"/>
            <ac:spMk id="14" creationId="{8BD4678A-C493-518E-DF9D-64FC9D3FFDEC}"/>
          </ac:spMkLst>
        </pc:spChg>
        <pc:picChg chg="del">
          <ac:chgData name="Pierre CHAVANNE" userId="2e2e2412-eb49-4787-bd3d-d17adeb25e11" providerId="ADAL" clId="{8E769656-82DF-4740-BA14-9D4801EE0342}" dt="2023-12-11T09:48:09.579" v="960" actId="478"/>
          <ac:picMkLst>
            <pc:docMk/>
            <pc:sldMk cId="1172579897" sldId="276"/>
            <ac:picMk id="5" creationId="{3ADCDBE3-8F22-7644-D52F-78E9BA59D639}"/>
          </ac:picMkLst>
        </pc:picChg>
        <pc:picChg chg="add del mod">
          <ac:chgData name="Pierre CHAVANNE" userId="2e2e2412-eb49-4787-bd3d-d17adeb25e11" providerId="ADAL" clId="{8E769656-82DF-4740-BA14-9D4801EE0342}" dt="2023-12-11T11:20:05.021" v="4485" actId="478"/>
          <ac:picMkLst>
            <pc:docMk/>
            <pc:sldMk cId="1172579897" sldId="276"/>
            <ac:picMk id="15" creationId="{2B834AC0-9EC1-BD50-6881-2E2AC49DD554}"/>
          </ac:picMkLst>
        </pc:picChg>
        <pc:picChg chg="add mod">
          <ac:chgData name="Pierre CHAVANNE" userId="2e2e2412-eb49-4787-bd3d-d17adeb25e11" providerId="ADAL" clId="{8E769656-82DF-4740-BA14-9D4801EE0342}" dt="2023-12-11T12:16:34.523" v="5216" actId="1076"/>
          <ac:picMkLst>
            <pc:docMk/>
            <pc:sldMk cId="1172579897" sldId="276"/>
            <ac:picMk id="17" creationId="{494E7569-F3FE-A823-D35D-D0088F7F9B66}"/>
          </ac:picMkLst>
        </pc:picChg>
      </pc:sldChg>
      <pc:sldChg chg="addSp delSp modSp add mod">
        <pc:chgData name="Pierre CHAVANNE" userId="2e2e2412-eb49-4787-bd3d-d17adeb25e11" providerId="ADAL" clId="{8E769656-82DF-4740-BA14-9D4801EE0342}" dt="2023-12-11T12:26:07.056" v="5744"/>
        <pc:sldMkLst>
          <pc:docMk/>
          <pc:sldMk cId="3913948229" sldId="277"/>
        </pc:sldMkLst>
        <pc:spChg chg="mod">
          <ac:chgData name="Pierre CHAVANNE" userId="2e2e2412-eb49-4787-bd3d-d17adeb25e11" providerId="ADAL" clId="{8E769656-82DF-4740-BA14-9D4801EE0342}" dt="2023-12-11T10:54:51.178" v="3051" actId="1037"/>
          <ac:spMkLst>
            <pc:docMk/>
            <pc:sldMk cId="3913948229" sldId="277"/>
            <ac:spMk id="2" creationId="{E52B8373-62D1-544B-7A5C-41B622D6A38F}"/>
          </ac:spMkLst>
        </pc:spChg>
        <pc:spChg chg="del">
          <ac:chgData name="Pierre CHAVANNE" userId="2e2e2412-eb49-4787-bd3d-d17adeb25e11" providerId="ADAL" clId="{8E769656-82DF-4740-BA14-9D4801EE0342}" dt="2023-12-11T12:17:15.590" v="5223" actId="478"/>
          <ac:spMkLst>
            <pc:docMk/>
            <pc:sldMk cId="3913948229" sldId="277"/>
            <ac:spMk id="4" creationId="{430F12B2-8A30-D6A2-6AC7-ABAE7B02E283}"/>
          </ac:spMkLst>
        </pc:spChg>
        <pc:spChg chg="mod">
          <ac:chgData name="Pierre CHAVANNE" userId="2e2e2412-eb49-4787-bd3d-d17adeb25e11" providerId="ADAL" clId="{8E769656-82DF-4740-BA14-9D4801EE0342}" dt="2023-12-11T10:54:51.178" v="3051" actId="1037"/>
          <ac:spMkLst>
            <pc:docMk/>
            <pc:sldMk cId="3913948229" sldId="277"/>
            <ac:spMk id="7" creationId="{6AD4CBD7-D9A7-169D-4153-387F366F0D29}"/>
          </ac:spMkLst>
        </pc:spChg>
        <pc:spChg chg="del">
          <ac:chgData name="Pierre CHAVANNE" userId="2e2e2412-eb49-4787-bd3d-d17adeb25e11" providerId="ADAL" clId="{8E769656-82DF-4740-BA14-9D4801EE0342}" dt="2023-12-11T09:49:30.373" v="1042" actId="478"/>
          <ac:spMkLst>
            <pc:docMk/>
            <pc:sldMk cId="3913948229" sldId="277"/>
            <ac:spMk id="9" creationId="{2FA19DED-FC42-5C03-5A67-076E5E493EC6}"/>
          </ac:spMkLst>
        </pc:spChg>
        <pc:spChg chg="mod">
          <ac:chgData name="Pierre CHAVANNE" userId="2e2e2412-eb49-4787-bd3d-d17adeb25e11" providerId="ADAL" clId="{8E769656-82DF-4740-BA14-9D4801EE0342}" dt="2023-12-11T12:25:49.245" v="5742" actId="20577"/>
          <ac:spMkLst>
            <pc:docMk/>
            <pc:sldMk cId="3913948229" sldId="277"/>
            <ac:spMk id="10" creationId="{18B9EFBA-7F92-0321-957B-DC732358BF5F}"/>
          </ac:spMkLst>
        </pc:spChg>
        <pc:spChg chg="add del mod">
          <ac:chgData name="Pierre CHAVANNE" userId="2e2e2412-eb49-4787-bd3d-d17adeb25e11" providerId="ADAL" clId="{8E769656-82DF-4740-BA14-9D4801EE0342}" dt="2023-12-11T12:17:16.690" v="5224" actId="478"/>
          <ac:spMkLst>
            <pc:docMk/>
            <pc:sldMk cId="3913948229" sldId="277"/>
            <ac:spMk id="15" creationId="{B768DAA2-66FD-D850-5D2A-0CDE5DA2D4D6}"/>
          </ac:spMkLst>
        </pc:spChg>
        <pc:picChg chg="add del mod ord">
          <ac:chgData name="Pierre CHAVANNE" userId="2e2e2412-eb49-4787-bd3d-d17adeb25e11" providerId="ADAL" clId="{8E769656-82DF-4740-BA14-9D4801EE0342}" dt="2023-12-11T11:20:11.260" v="4488" actId="478"/>
          <ac:picMkLst>
            <pc:docMk/>
            <pc:sldMk cId="3913948229" sldId="277"/>
            <ac:picMk id="3" creationId="{5F679ABB-2FB1-DF06-1071-B28953034105}"/>
          </ac:picMkLst>
        </pc:picChg>
        <pc:picChg chg="del">
          <ac:chgData name="Pierre CHAVANNE" userId="2e2e2412-eb49-4787-bd3d-d17adeb25e11" providerId="ADAL" clId="{8E769656-82DF-4740-BA14-9D4801EE0342}" dt="2023-12-11T09:49:08.878" v="1036" actId="478"/>
          <ac:picMkLst>
            <pc:docMk/>
            <pc:sldMk cId="3913948229" sldId="277"/>
            <ac:picMk id="5" creationId="{3ADCDBE3-8F22-7644-D52F-78E9BA59D639}"/>
          </ac:picMkLst>
        </pc:picChg>
        <pc:picChg chg="add mod ord">
          <ac:chgData name="Pierre CHAVANNE" userId="2e2e2412-eb49-4787-bd3d-d17adeb25e11" providerId="ADAL" clId="{8E769656-82DF-4740-BA14-9D4801EE0342}" dt="2023-12-11T12:17:33.564" v="5226" actId="1076"/>
          <ac:picMkLst>
            <pc:docMk/>
            <pc:sldMk cId="3913948229" sldId="277"/>
            <ac:picMk id="13" creationId="{63C19E91-09B4-A523-1D6E-B36372117003}"/>
          </ac:picMkLst>
        </pc:picChg>
        <pc:cxnChg chg="add del mod">
          <ac:chgData name="Pierre CHAVANNE" userId="2e2e2412-eb49-4787-bd3d-d17adeb25e11" providerId="ADAL" clId="{8E769656-82DF-4740-BA14-9D4801EE0342}" dt="2023-12-11T10:43:55.346" v="2479" actId="478"/>
          <ac:cxnSpMkLst>
            <pc:docMk/>
            <pc:sldMk cId="3913948229" sldId="277"/>
            <ac:cxnSpMk id="8" creationId="{49E13B0E-D847-8B0D-3A86-75953ABBC9BA}"/>
          </ac:cxnSpMkLst>
        </pc:cxnChg>
        <pc:cxnChg chg="add del mod">
          <ac:chgData name="Pierre CHAVANNE" userId="2e2e2412-eb49-4787-bd3d-d17adeb25e11" providerId="ADAL" clId="{8E769656-82DF-4740-BA14-9D4801EE0342}" dt="2023-12-11T10:54:53.024" v="3052" actId="478"/>
          <ac:cxnSpMkLst>
            <pc:docMk/>
            <pc:sldMk cId="3913948229" sldId="277"/>
            <ac:cxnSpMk id="11" creationId="{3F56EB2E-02F2-E9DA-A812-B7CB8C5F2415}"/>
          </ac:cxnSpMkLst>
        </pc:cxnChg>
        <pc:cxnChg chg="add del mod">
          <ac:chgData name="Pierre CHAVANNE" userId="2e2e2412-eb49-4787-bd3d-d17adeb25e11" providerId="ADAL" clId="{8E769656-82DF-4740-BA14-9D4801EE0342}" dt="2023-12-11T12:26:07.056" v="5744"/>
          <ac:cxnSpMkLst>
            <pc:docMk/>
            <pc:sldMk cId="3913948229" sldId="277"/>
            <ac:cxnSpMk id="16" creationId="{C425FDC8-F05B-840A-0A77-4C59D69F4D20}"/>
          </ac:cxnSpMkLst>
        </pc:cxnChg>
        <pc:cxnChg chg="add del mod">
          <ac:chgData name="Pierre CHAVANNE" userId="2e2e2412-eb49-4787-bd3d-d17adeb25e11" providerId="ADAL" clId="{8E769656-82DF-4740-BA14-9D4801EE0342}" dt="2023-12-11T12:26:07.056" v="5744"/>
          <ac:cxnSpMkLst>
            <pc:docMk/>
            <pc:sldMk cId="3913948229" sldId="277"/>
            <ac:cxnSpMk id="17" creationId="{B46F9282-8455-5B23-51FD-CF647F798CFA}"/>
          </ac:cxnSpMkLst>
        </pc:cxnChg>
      </pc:sldChg>
      <pc:sldChg chg="addSp delSp modSp add mod">
        <pc:chgData name="Pierre CHAVANNE" userId="2e2e2412-eb49-4787-bd3d-d17adeb25e11" providerId="ADAL" clId="{8E769656-82DF-4740-BA14-9D4801EE0342}" dt="2023-12-11T12:41:31.632" v="6457" actId="20577"/>
        <pc:sldMkLst>
          <pc:docMk/>
          <pc:sldMk cId="255627525" sldId="278"/>
        </pc:sldMkLst>
        <pc:spChg chg="mod">
          <ac:chgData name="Pierre CHAVANNE" userId="2e2e2412-eb49-4787-bd3d-d17adeb25e11" providerId="ADAL" clId="{8E769656-82DF-4740-BA14-9D4801EE0342}" dt="2023-12-11T10:55:00.636" v="3067" actId="1037"/>
          <ac:spMkLst>
            <pc:docMk/>
            <pc:sldMk cId="255627525" sldId="278"/>
            <ac:spMk id="2" creationId="{E52B8373-62D1-544B-7A5C-41B622D6A38F}"/>
          </ac:spMkLst>
        </pc:spChg>
        <pc:spChg chg="del">
          <ac:chgData name="Pierre CHAVANNE" userId="2e2e2412-eb49-4787-bd3d-d17adeb25e11" providerId="ADAL" clId="{8E769656-82DF-4740-BA14-9D4801EE0342}" dt="2023-12-11T12:27:12.350" v="5765" actId="478"/>
          <ac:spMkLst>
            <pc:docMk/>
            <pc:sldMk cId="255627525" sldId="278"/>
            <ac:spMk id="4" creationId="{430F12B2-8A30-D6A2-6AC7-ABAE7B02E283}"/>
          </ac:spMkLst>
        </pc:spChg>
        <pc:spChg chg="mod">
          <ac:chgData name="Pierre CHAVANNE" userId="2e2e2412-eb49-4787-bd3d-d17adeb25e11" providerId="ADAL" clId="{8E769656-82DF-4740-BA14-9D4801EE0342}" dt="2023-12-11T10:55:00.636" v="3067" actId="1037"/>
          <ac:spMkLst>
            <pc:docMk/>
            <pc:sldMk cId="255627525" sldId="278"/>
            <ac:spMk id="7" creationId="{6AD4CBD7-D9A7-169D-4153-387F366F0D29}"/>
          </ac:spMkLst>
        </pc:spChg>
        <pc:spChg chg="add mod ord">
          <ac:chgData name="Pierre CHAVANNE" userId="2e2e2412-eb49-4787-bd3d-d17adeb25e11" providerId="ADAL" clId="{8E769656-82DF-4740-BA14-9D4801EE0342}" dt="2023-12-11T12:26:52.427" v="5764" actId="1076"/>
          <ac:spMkLst>
            <pc:docMk/>
            <pc:sldMk cId="255627525" sldId="278"/>
            <ac:spMk id="8" creationId="{A7E0981C-2EEF-66C7-6F0F-80077D499CD6}"/>
          </ac:spMkLst>
        </pc:spChg>
        <pc:spChg chg="mod">
          <ac:chgData name="Pierre CHAVANNE" userId="2e2e2412-eb49-4787-bd3d-d17adeb25e11" providerId="ADAL" clId="{8E769656-82DF-4740-BA14-9D4801EE0342}" dt="2023-12-11T12:41:31.632" v="6457" actId="20577"/>
          <ac:spMkLst>
            <pc:docMk/>
            <pc:sldMk cId="255627525" sldId="278"/>
            <ac:spMk id="10" creationId="{18B9EFBA-7F92-0321-957B-DC732358BF5F}"/>
          </ac:spMkLst>
        </pc:spChg>
        <pc:spChg chg="add del mod">
          <ac:chgData name="Pierre CHAVANNE" userId="2e2e2412-eb49-4787-bd3d-d17adeb25e11" providerId="ADAL" clId="{8E769656-82DF-4740-BA14-9D4801EE0342}" dt="2023-12-11T12:27:13.346" v="5766" actId="478"/>
          <ac:spMkLst>
            <pc:docMk/>
            <pc:sldMk cId="255627525" sldId="278"/>
            <ac:spMk id="15" creationId="{F2E93729-D152-F086-D969-35C1E44296AF}"/>
          </ac:spMkLst>
        </pc:spChg>
        <pc:picChg chg="del">
          <ac:chgData name="Pierre CHAVANNE" userId="2e2e2412-eb49-4787-bd3d-d17adeb25e11" providerId="ADAL" clId="{8E769656-82DF-4740-BA14-9D4801EE0342}" dt="2023-12-11T09:49:58.260" v="1064" actId="478"/>
          <ac:picMkLst>
            <pc:docMk/>
            <pc:sldMk cId="255627525" sldId="278"/>
            <ac:picMk id="3" creationId="{5F679ABB-2FB1-DF06-1071-B28953034105}"/>
          </ac:picMkLst>
        </pc:picChg>
        <pc:picChg chg="add del mod">
          <ac:chgData name="Pierre CHAVANNE" userId="2e2e2412-eb49-4787-bd3d-d17adeb25e11" providerId="ADAL" clId="{8E769656-82DF-4740-BA14-9D4801EE0342}" dt="2023-12-11T11:20:17.860" v="4492" actId="478"/>
          <ac:picMkLst>
            <pc:docMk/>
            <pc:sldMk cId="255627525" sldId="278"/>
            <ac:picMk id="5" creationId="{CF898350-5F87-586F-5F77-2266D63636AE}"/>
          </ac:picMkLst>
        </pc:picChg>
        <pc:picChg chg="add mod">
          <ac:chgData name="Pierre CHAVANNE" userId="2e2e2412-eb49-4787-bd3d-d17adeb25e11" providerId="ADAL" clId="{8E769656-82DF-4740-BA14-9D4801EE0342}" dt="2023-12-11T12:26:44.071" v="5762" actId="1037"/>
          <ac:picMkLst>
            <pc:docMk/>
            <pc:sldMk cId="255627525" sldId="278"/>
            <ac:picMk id="13" creationId="{DD8DFE15-0DC9-6EC2-9693-6D24F1EF3244}"/>
          </ac:picMkLst>
        </pc:picChg>
        <pc:cxnChg chg="add del mod">
          <ac:chgData name="Pierre CHAVANNE" userId="2e2e2412-eb49-4787-bd3d-d17adeb25e11" providerId="ADAL" clId="{8E769656-82DF-4740-BA14-9D4801EE0342}" dt="2023-12-11T10:44:05.914" v="2508" actId="478"/>
          <ac:cxnSpMkLst>
            <pc:docMk/>
            <pc:sldMk cId="255627525" sldId="278"/>
            <ac:cxnSpMk id="9" creationId="{BAFBADF3-D47E-13C8-A9EE-051A390F0B9C}"/>
          </ac:cxnSpMkLst>
        </pc:cxnChg>
        <pc:cxnChg chg="add del mod">
          <ac:chgData name="Pierre CHAVANNE" userId="2e2e2412-eb49-4787-bd3d-d17adeb25e11" providerId="ADAL" clId="{8E769656-82DF-4740-BA14-9D4801EE0342}" dt="2023-12-11T10:55:02.378" v="3068" actId="478"/>
          <ac:cxnSpMkLst>
            <pc:docMk/>
            <pc:sldMk cId="255627525" sldId="278"/>
            <ac:cxnSpMk id="11" creationId="{62F0830C-44E4-78EC-1690-AEC92BBB47A3}"/>
          </ac:cxnSpMkLst>
        </pc:cxnChg>
      </pc:sldChg>
      <pc:sldChg chg="addSp delSp modSp add mod">
        <pc:chgData name="Pierre CHAVANNE" userId="2e2e2412-eb49-4787-bd3d-d17adeb25e11" providerId="ADAL" clId="{8E769656-82DF-4740-BA14-9D4801EE0342}" dt="2023-12-11T14:31:39.525" v="10012" actId="20577"/>
        <pc:sldMkLst>
          <pc:docMk/>
          <pc:sldMk cId="2495300835" sldId="279"/>
        </pc:sldMkLst>
        <pc:spChg chg="mod">
          <ac:chgData name="Pierre CHAVANNE" userId="2e2e2412-eb49-4787-bd3d-d17adeb25e11" providerId="ADAL" clId="{8E769656-82DF-4740-BA14-9D4801EE0342}" dt="2023-12-11T10:55:09.617" v="3087" actId="1037"/>
          <ac:spMkLst>
            <pc:docMk/>
            <pc:sldMk cId="2495300835" sldId="279"/>
            <ac:spMk id="2" creationId="{E52B8373-62D1-544B-7A5C-41B622D6A38F}"/>
          </ac:spMkLst>
        </pc:spChg>
        <pc:spChg chg="del">
          <ac:chgData name="Pierre CHAVANNE" userId="2e2e2412-eb49-4787-bd3d-d17adeb25e11" providerId="ADAL" clId="{8E769656-82DF-4740-BA14-9D4801EE0342}" dt="2023-12-11T12:42:57.618" v="6470" actId="478"/>
          <ac:spMkLst>
            <pc:docMk/>
            <pc:sldMk cId="2495300835" sldId="279"/>
            <ac:spMk id="4" creationId="{430F12B2-8A30-D6A2-6AC7-ABAE7B02E283}"/>
          </ac:spMkLst>
        </pc:spChg>
        <pc:spChg chg="mod">
          <ac:chgData name="Pierre CHAVANNE" userId="2e2e2412-eb49-4787-bd3d-d17adeb25e11" providerId="ADAL" clId="{8E769656-82DF-4740-BA14-9D4801EE0342}" dt="2023-12-11T12:43:37.342" v="6486" actId="20577"/>
          <ac:spMkLst>
            <pc:docMk/>
            <pc:sldMk cId="2495300835" sldId="279"/>
            <ac:spMk id="7" creationId="{6AD4CBD7-D9A7-169D-4153-387F366F0D29}"/>
          </ac:spMkLst>
        </pc:spChg>
        <pc:spChg chg="del">
          <ac:chgData name="Pierre CHAVANNE" userId="2e2e2412-eb49-4787-bd3d-d17adeb25e11" providerId="ADAL" clId="{8E769656-82DF-4740-BA14-9D4801EE0342}" dt="2023-12-11T12:44:21.870" v="6502" actId="478"/>
          <ac:spMkLst>
            <pc:docMk/>
            <pc:sldMk cId="2495300835" sldId="279"/>
            <ac:spMk id="9" creationId="{2FA19DED-FC42-5C03-5A67-076E5E493EC6}"/>
          </ac:spMkLst>
        </pc:spChg>
        <pc:spChg chg="mod">
          <ac:chgData name="Pierre CHAVANNE" userId="2e2e2412-eb49-4787-bd3d-d17adeb25e11" providerId="ADAL" clId="{8E769656-82DF-4740-BA14-9D4801EE0342}" dt="2023-12-11T14:31:39.525" v="10012" actId="20577"/>
          <ac:spMkLst>
            <pc:docMk/>
            <pc:sldMk cId="2495300835" sldId="279"/>
            <ac:spMk id="10" creationId="{18B9EFBA-7F92-0321-957B-DC732358BF5F}"/>
          </ac:spMkLst>
        </pc:spChg>
        <pc:spChg chg="add del mod">
          <ac:chgData name="Pierre CHAVANNE" userId="2e2e2412-eb49-4787-bd3d-d17adeb25e11" providerId="ADAL" clId="{8E769656-82DF-4740-BA14-9D4801EE0342}" dt="2023-12-11T12:42:58.957" v="6471" actId="478"/>
          <ac:spMkLst>
            <pc:docMk/>
            <pc:sldMk cId="2495300835" sldId="279"/>
            <ac:spMk id="15" creationId="{C4497E49-D55E-5FCC-0871-E37789FDBDAD}"/>
          </ac:spMkLst>
        </pc:spChg>
        <pc:picChg chg="add del mod ord">
          <ac:chgData name="Pierre CHAVANNE" userId="2e2e2412-eb49-4787-bd3d-d17adeb25e11" providerId="ADAL" clId="{8E769656-82DF-4740-BA14-9D4801EE0342}" dt="2023-12-11T11:20:25.392" v="4496" actId="478"/>
          <ac:picMkLst>
            <pc:docMk/>
            <pc:sldMk cId="2495300835" sldId="279"/>
            <ac:picMk id="3" creationId="{999802FB-4045-3BA3-F252-590C35E2DFB0}"/>
          </ac:picMkLst>
        </pc:picChg>
        <pc:picChg chg="del">
          <ac:chgData name="Pierre CHAVANNE" userId="2e2e2412-eb49-4787-bd3d-d17adeb25e11" providerId="ADAL" clId="{8E769656-82DF-4740-BA14-9D4801EE0342}" dt="2023-12-11T09:51:30.402" v="1118" actId="478"/>
          <ac:picMkLst>
            <pc:docMk/>
            <pc:sldMk cId="2495300835" sldId="279"/>
            <ac:picMk id="5" creationId="{3ADCDBE3-8F22-7644-D52F-78E9BA59D639}"/>
          </ac:picMkLst>
        </pc:picChg>
        <pc:picChg chg="add mod ord">
          <ac:chgData name="Pierre CHAVANNE" userId="2e2e2412-eb49-4787-bd3d-d17adeb25e11" providerId="ADAL" clId="{8E769656-82DF-4740-BA14-9D4801EE0342}" dt="2023-12-11T12:42:51.326" v="6469" actId="1035"/>
          <ac:picMkLst>
            <pc:docMk/>
            <pc:sldMk cId="2495300835" sldId="279"/>
            <ac:picMk id="13" creationId="{2EBB4F3A-E66D-08A2-DBAC-9B520D026A1C}"/>
          </ac:picMkLst>
        </pc:picChg>
        <pc:cxnChg chg="add del mod">
          <ac:chgData name="Pierre CHAVANNE" userId="2e2e2412-eb49-4787-bd3d-d17adeb25e11" providerId="ADAL" clId="{8E769656-82DF-4740-BA14-9D4801EE0342}" dt="2023-12-11T10:44:16.977" v="2530" actId="478"/>
          <ac:cxnSpMkLst>
            <pc:docMk/>
            <pc:sldMk cId="2495300835" sldId="279"/>
            <ac:cxnSpMk id="8" creationId="{21D6CC0C-456D-834B-2B19-7D599097AEDA}"/>
          </ac:cxnSpMkLst>
        </pc:cxnChg>
        <pc:cxnChg chg="add del mod">
          <ac:chgData name="Pierre CHAVANNE" userId="2e2e2412-eb49-4787-bd3d-d17adeb25e11" providerId="ADAL" clId="{8E769656-82DF-4740-BA14-9D4801EE0342}" dt="2023-12-11T10:55:12.689" v="3088" actId="478"/>
          <ac:cxnSpMkLst>
            <pc:docMk/>
            <pc:sldMk cId="2495300835" sldId="279"/>
            <ac:cxnSpMk id="11" creationId="{182066C5-C77D-A2A3-20F5-D68756E39837}"/>
          </ac:cxnSpMkLst>
        </pc:cxnChg>
      </pc:sldChg>
      <pc:sldChg chg="addSp delSp modSp add mod">
        <pc:chgData name="Pierre CHAVANNE" userId="2e2e2412-eb49-4787-bd3d-d17adeb25e11" providerId="ADAL" clId="{8E769656-82DF-4740-BA14-9D4801EE0342}" dt="2023-12-11T12:43:57.780" v="6501" actId="1076"/>
        <pc:sldMkLst>
          <pc:docMk/>
          <pc:sldMk cId="39061736" sldId="280"/>
        </pc:sldMkLst>
        <pc:picChg chg="add del mod">
          <ac:chgData name="Pierre CHAVANNE" userId="2e2e2412-eb49-4787-bd3d-d17adeb25e11" providerId="ADAL" clId="{8E769656-82DF-4740-BA14-9D4801EE0342}" dt="2023-12-11T11:20:36.844" v="4501" actId="478"/>
          <ac:picMkLst>
            <pc:docMk/>
            <pc:sldMk cId="39061736" sldId="280"/>
            <ac:picMk id="2" creationId="{E6C41A31-5949-FF20-6896-ED559ED59C5F}"/>
          </ac:picMkLst>
        </pc:picChg>
        <pc:picChg chg="add mod">
          <ac:chgData name="Pierre CHAVANNE" userId="2e2e2412-eb49-4787-bd3d-d17adeb25e11" providerId="ADAL" clId="{8E769656-82DF-4740-BA14-9D4801EE0342}" dt="2023-12-11T12:43:57.780" v="6501" actId="1076"/>
          <ac:picMkLst>
            <pc:docMk/>
            <pc:sldMk cId="39061736" sldId="280"/>
            <ac:picMk id="4" creationId="{96DFA70C-C169-561E-F0D6-6A1638CC1392}"/>
          </ac:picMkLst>
        </pc:picChg>
        <pc:picChg chg="del">
          <ac:chgData name="Pierre CHAVANNE" userId="2e2e2412-eb49-4787-bd3d-d17adeb25e11" providerId="ADAL" clId="{8E769656-82DF-4740-BA14-9D4801EE0342}" dt="2023-12-11T09:51:53.009" v="1125" actId="478"/>
          <ac:picMkLst>
            <pc:docMk/>
            <pc:sldMk cId="39061736" sldId="280"/>
            <ac:picMk id="15" creationId="{2B834AC0-9EC1-BD50-6881-2E2AC49DD554}"/>
          </ac:picMkLst>
        </pc:picChg>
      </pc:sldChg>
      <pc:sldChg chg="addSp delSp modSp add mod">
        <pc:chgData name="Pierre CHAVANNE" userId="2e2e2412-eb49-4787-bd3d-d17adeb25e11" providerId="ADAL" clId="{8E769656-82DF-4740-BA14-9D4801EE0342}" dt="2023-12-11T12:50:47.870" v="7097" actId="1076"/>
        <pc:sldMkLst>
          <pc:docMk/>
          <pc:sldMk cId="968674742" sldId="281"/>
        </pc:sldMkLst>
        <pc:spChg chg="mod">
          <ac:chgData name="Pierre CHAVANNE" userId="2e2e2412-eb49-4787-bd3d-d17adeb25e11" providerId="ADAL" clId="{8E769656-82DF-4740-BA14-9D4801EE0342}" dt="2023-12-11T10:55:20.016" v="3101" actId="1037"/>
          <ac:spMkLst>
            <pc:docMk/>
            <pc:sldMk cId="968674742" sldId="281"/>
            <ac:spMk id="2" creationId="{E52B8373-62D1-544B-7A5C-41B622D6A38F}"/>
          </ac:spMkLst>
        </pc:spChg>
        <pc:spChg chg="del">
          <ac:chgData name="Pierre CHAVANNE" userId="2e2e2412-eb49-4787-bd3d-d17adeb25e11" providerId="ADAL" clId="{8E769656-82DF-4740-BA14-9D4801EE0342}" dt="2023-12-11T12:46:50.249" v="6680" actId="478"/>
          <ac:spMkLst>
            <pc:docMk/>
            <pc:sldMk cId="968674742" sldId="281"/>
            <ac:spMk id="4" creationId="{430F12B2-8A30-D6A2-6AC7-ABAE7B02E283}"/>
          </ac:spMkLst>
        </pc:spChg>
        <pc:spChg chg="mod">
          <ac:chgData name="Pierre CHAVANNE" userId="2e2e2412-eb49-4787-bd3d-d17adeb25e11" providerId="ADAL" clId="{8E769656-82DF-4740-BA14-9D4801EE0342}" dt="2023-12-11T12:43:44.236" v="6492" actId="20577"/>
          <ac:spMkLst>
            <pc:docMk/>
            <pc:sldMk cId="968674742" sldId="281"/>
            <ac:spMk id="7" creationId="{6AD4CBD7-D9A7-169D-4153-387F366F0D29}"/>
          </ac:spMkLst>
        </pc:spChg>
        <pc:spChg chg="del">
          <ac:chgData name="Pierre CHAVANNE" userId="2e2e2412-eb49-4787-bd3d-d17adeb25e11" providerId="ADAL" clId="{8E769656-82DF-4740-BA14-9D4801EE0342}" dt="2023-12-11T09:52:20.267" v="1146" actId="478"/>
          <ac:spMkLst>
            <pc:docMk/>
            <pc:sldMk cId="968674742" sldId="281"/>
            <ac:spMk id="9" creationId="{2FA19DED-FC42-5C03-5A67-076E5E493EC6}"/>
          </ac:spMkLst>
        </pc:spChg>
        <pc:spChg chg="mod">
          <ac:chgData name="Pierre CHAVANNE" userId="2e2e2412-eb49-4787-bd3d-d17adeb25e11" providerId="ADAL" clId="{8E769656-82DF-4740-BA14-9D4801EE0342}" dt="2023-12-11T12:50:47.870" v="7097" actId="1076"/>
          <ac:spMkLst>
            <pc:docMk/>
            <pc:sldMk cId="968674742" sldId="281"/>
            <ac:spMk id="10" creationId="{18B9EFBA-7F92-0321-957B-DC732358BF5F}"/>
          </ac:spMkLst>
        </pc:spChg>
        <pc:spChg chg="add del mod">
          <ac:chgData name="Pierre CHAVANNE" userId="2e2e2412-eb49-4787-bd3d-d17adeb25e11" providerId="ADAL" clId="{8E769656-82DF-4740-BA14-9D4801EE0342}" dt="2023-12-11T12:46:51.356" v="6681" actId="478"/>
          <ac:spMkLst>
            <pc:docMk/>
            <pc:sldMk cId="968674742" sldId="281"/>
            <ac:spMk id="15" creationId="{9386C814-D198-E241-FF02-9EF6CB1BB423}"/>
          </ac:spMkLst>
        </pc:spChg>
        <pc:picChg chg="del">
          <ac:chgData name="Pierre CHAVANNE" userId="2e2e2412-eb49-4787-bd3d-d17adeb25e11" providerId="ADAL" clId="{8E769656-82DF-4740-BA14-9D4801EE0342}" dt="2023-12-11T09:52:19.064" v="1145" actId="478"/>
          <ac:picMkLst>
            <pc:docMk/>
            <pc:sldMk cId="968674742" sldId="281"/>
            <ac:picMk id="3" creationId="{999802FB-4045-3BA3-F252-590C35E2DFB0}"/>
          </ac:picMkLst>
        </pc:picChg>
        <pc:picChg chg="add del mod">
          <ac:chgData name="Pierre CHAVANNE" userId="2e2e2412-eb49-4787-bd3d-d17adeb25e11" providerId="ADAL" clId="{8E769656-82DF-4740-BA14-9D4801EE0342}" dt="2023-12-11T11:20:42.518" v="4504" actId="478"/>
          <ac:picMkLst>
            <pc:docMk/>
            <pc:sldMk cId="968674742" sldId="281"/>
            <ac:picMk id="5" creationId="{F0B203F3-EB6A-970F-D45F-F66C94F3090B}"/>
          </ac:picMkLst>
        </pc:picChg>
        <pc:picChg chg="add mod">
          <ac:chgData name="Pierre CHAVANNE" userId="2e2e2412-eb49-4787-bd3d-d17adeb25e11" providerId="ADAL" clId="{8E769656-82DF-4740-BA14-9D4801EE0342}" dt="2023-12-11T12:46:47.861" v="6679" actId="1076"/>
          <ac:picMkLst>
            <pc:docMk/>
            <pc:sldMk cId="968674742" sldId="281"/>
            <ac:picMk id="13" creationId="{29690F35-3B5B-932E-27B9-5D61468D063B}"/>
          </ac:picMkLst>
        </pc:picChg>
        <pc:cxnChg chg="add del mod">
          <ac:chgData name="Pierre CHAVANNE" userId="2e2e2412-eb49-4787-bd3d-d17adeb25e11" providerId="ADAL" clId="{8E769656-82DF-4740-BA14-9D4801EE0342}" dt="2023-12-11T10:44:27.733" v="2554" actId="478"/>
          <ac:cxnSpMkLst>
            <pc:docMk/>
            <pc:sldMk cId="968674742" sldId="281"/>
            <ac:cxnSpMk id="8" creationId="{520FB2B0-3ED6-607C-A6D3-FFC0D9A23613}"/>
          </ac:cxnSpMkLst>
        </pc:cxnChg>
        <pc:cxnChg chg="add del mod">
          <ac:chgData name="Pierre CHAVANNE" userId="2e2e2412-eb49-4787-bd3d-d17adeb25e11" providerId="ADAL" clId="{8E769656-82DF-4740-BA14-9D4801EE0342}" dt="2023-12-11T10:55:23.226" v="3102" actId="478"/>
          <ac:cxnSpMkLst>
            <pc:docMk/>
            <pc:sldMk cId="968674742" sldId="281"/>
            <ac:cxnSpMk id="11" creationId="{0DFC1805-15C8-3CB4-3643-61967AB8E58A}"/>
          </ac:cxnSpMkLst>
        </pc:cxnChg>
      </pc:sldChg>
      <pc:sldChg chg="addSp delSp modSp add mod">
        <pc:chgData name="Pierre CHAVANNE" userId="2e2e2412-eb49-4787-bd3d-d17adeb25e11" providerId="ADAL" clId="{8E769656-82DF-4740-BA14-9D4801EE0342}" dt="2023-12-11T12:51:19.883" v="7112" actId="1076"/>
        <pc:sldMkLst>
          <pc:docMk/>
          <pc:sldMk cId="145152880" sldId="282"/>
        </pc:sldMkLst>
        <pc:picChg chg="del">
          <ac:chgData name="Pierre CHAVANNE" userId="2e2e2412-eb49-4787-bd3d-d17adeb25e11" providerId="ADAL" clId="{8E769656-82DF-4740-BA14-9D4801EE0342}" dt="2023-12-11T09:52:34.106" v="1152" actId="478"/>
          <ac:picMkLst>
            <pc:docMk/>
            <pc:sldMk cId="145152880" sldId="282"/>
            <ac:picMk id="2" creationId="{E6C41A31-5949-FF20-6896-ED559ED59C5F}"/>
          </ac:picMkLst>
        </pc:picChg>
        <pc:picChg chg="add del mod">
          <ac:chgData name="Pierre CHAVANNE" userId="2e2e2412-eb49-4787-bd3d-d17adeb25e11" providerId="ADAL" clId="{8E769656-82DF-4740-BA14-9D4801EE0342}" dt="2023-12-11T11:20:50.193" v="4507" actId="478"/>
          <ac:picMkLst>
            <pc:docMk/>
            <pc:sldMk cId="145152880" sldId="282"/>
            <ac:picMk id="3" creationId="{8B01658B-CE84-5B30-3EB4-028E9E6C20D9}"/>
          </ac:picMkLst>
        </pc:picChg>
        <pc:picChg chg="add mod">
          <ac:chgData name="Pierre CHAVANNE" userId="2e2e2412-eb49-4787-bd3d-d17adeb25e11" providerId="ADAL" clId="{8E769656-82DF-4740-BA14-9D4801EE0342}" dt="2023-12-11T12:51:19.883" v="7112" actId="1076"/>
          <ac:picMkLst>
            <pc:docMk/>
            <pc:sldMk cId="145152880" sldId="282"/>
            <ac:picMk id="7" creationId="{9DAF32C9-DAB5-B0B9-FAAD-FE0409B10815}"/>
          </ac:picMkLst>
        </pc:picChg>
        <pc:cxnChg chg="add del mod">
          <ac:chgData name="Pierre CHAVANNE" userId="2e2e2412-eb49-4787-bd3d-d17adeb25e11" providerId="ADAL" clId="{8E769656-82DF-4740-BA14-9D4801EE0342}" dt="2023-12-11T10:55:25.614" v="3104"/>
          <ac:cxnSpMkLst>
            <pc:docMk/>
            <pc:sldMk cId="145152880" sldId="282"/>
            <ac:cxnSpMk id="4" creationId="{573B22BA-363F-D771-43E6-8A1144F3DD4F}"/>
          </ac:cxnSpMkLst>
        </pc:cxnChg>
      </pc:sldChg>
      <pc:sldChg chg="addSp delSp modSp add mod">
        <pc:chgData name="Pierre CHAVANNE" userId="2e2e2412-eb49-4787-bd3d-d17adeb25e11" providerId="ADAL" clId="{8E769656-82DF-4740-BA14-9D4801EE0342}" dt="2023-12-11T14:05:23.489" v="9457" actId="20577"/>
        <pc:sldMkLst>
          <pc:docMk/>
          <pc:sldMk cId="2422762125" sldId="283"/>
        </pc:sldMkLst>
        <pc:spChg chg="mod">
          <ac:chgData name="Pierre CHAVANNE" userId="2e2e2412-eb49-4787-bd3d-d17adeb25e11" providerId="ADAL" clId="{8E769656-82DF-4740-BA14-9D4801EE0342}" dt="2023-12-11T10:55:30.758" v="3117" actId="1037"/>
          <ac:spMkLst>
            <pc:docMk/>
            <pc:sldMk cId="2422762125" sldId="283"/>
            <ac:spMk id="2" creationId="{E52B8373-62D1-544B-7A5C-41B622D6A38F}"/>
          </ac:spMkLst>
        </pc:spChg>
        <pc:spChg chg="del">
          <ac:chgData name="Pierre CHAVANNE" userId="2e2e2412-eb49-4787-bd3d-d17adeb25e11" providerId="ADAL" clId="{8E769656-82DF-4740-BA14-9D4801EE0342}" dt="2023-12-11T09:53:43.638" v="1267" actId="478"/>
          <ac:spMkLst>
            <pc:docMk/>
            <pc:sldMk cId="2422762125" sldId="283"/>
            <ac:spMk id="4" creationId="{430F12B2-8A30-D6A2-6AC7-ABAE7B02E283}"/>
          </ac:spMkLst>
        </pc:spChg>
        <pc:spChg chg="mod">
          <ac:chgData name="Pierre CHAVANNE" userId="2e2e2412-eb49-4787-bd3d-d17adeb25e11" providerId="ADAL" clId="{8E769656-82DF-4740-BA14-9D4801EE0342}" dt="2023-12-11T14:05:23.489" v="9457" actId="20577"/>
          <ac:spMkLst>
            <pc:docMk/>
            <pc:sldMk cId="2422762125" sldId="283"/>
            <ac:spMk id="7" creationId="{6AD4CBD7-D9A7-169D-4153-387F366F0D29}"/>
          </ac:spMkLst>
        </pc:spChg>
        <pc:spChg chg="add del mod">
          <ac:chgData name="Pierre CHAVANNE" userId="2e2e2412-eb49-4787-bd3d-d17adeb25e11" providerId="ADAL" clId="{8E769656-82DF-4740-BA14-9D4801EE0342}" dt="2023-12-11T09:53:44.840" v="1268" actId="478"/>
          <ac:spMkLst>
            <pc:docMk/>
            <pc:sldMk cId="2422762125" sldId="283"/>
            <ac:spMk id="8" creationId="{C13D94F7-1AA0-548C-1093-DE41E5D69690}"/>
          </ac:spMkLst>
        </pc:spChg>
        <pc:spChg chg="mod">
          <ac:chgData name="Pierre CHAVANNE" userId="2e2e2412-eb49-4787-bd3d-d17adeb25e11" providerId="ADAL" clId="{8E769656-82DF-4740-BA14-9D4801EE0342}" dt="2023-12-11T13:53:19.813" v="9339" actId="313"/>
          <ac:spMkLst>
            <pc:docMk/>
            <pc:sldMk cId="2422762125" sldId="283"/>
            <ac:spMk id="10" creationId="{18B9EFBA-7F92-0321-957B-DC732358BF5F}"/>
          </ac:spMkLst>
        </pc:spChg>
        <pc:picChg chg="del">
          <ac:chgData name="Pierre CHAVANNE" userId="2e2e2412-eb49-4787-bd3d-d17adeb25e11" providerId="ADAL" clId="{8E769656-82DF-4740-BA14-9D4801EE0342}" dt="2023-12-11T09:53:33.048" v="1263" actId="478"/>
          <ac:picMkLst>
            <pc:docMk/>
            <pc:sldMk cId="2422762125" sldId="283"/>
            <ac:picMk id="5" creationId="{F0B203F3-EB6A-970F-D45F-F66C94F3090B}"/>
          </ac:picMkLst>
        </pc:picChg>
        <pc:picChg chg="add del mod">
          <ac:chgData name="Pierre CHAVANNE" userId="2e2e2412-eb49-4787-bd3d-d17adeb25e11" providerId="ADAL" clId="{8E769656-82DF-4740-BA14-9D4801EE0342}" dt="2023-12-11T11:20:57.106" v="4510" actId="478"/>
          <ac:picMkLst>
            <pc:docMk/>
            <pc:sldMk cId="2422762125" sldId="283"/>
            <ac:picMk id="9" creationId="{74138B21-8BED-2EEA-0121-834C63B4CA6F}"/>
          </ac:picMkLst>
        </pc:picChg>
        <pc:picChg chg="add del mod">
          <ac:chgData name="Pierre CHAVANNE" userId="2e2e2412-eb49-4787-bd3d-d17adeb25e11" providerId="ADAL" clId="{8E769656-82DF-4740-BA14-9D4801EE0342}" dt="2023-12-11T12:53:29.412" v="7131" actId="478"/>
          <ac:picMkLst>
            <pc:docMk/>
            <pc:sldMk cId="2422762125" sldId="283"/>
            <ac:picMk id="11" creationId="{A59A8CA7-335D-148D-139F-61BD26B83F34}"/>
          </ac:picMkLst>
        </pc:picChg>
        <pc:picChg chg="add del mod">
          <ac:chgData name="Pierre CHAVANNE" userId="2e2e2412-eb49-4787-bd3d-d17adeb25e11" providerId="ADAL" clId="{8E769656-82DF-4740-BA14-9D4801EE0342}" dt="2023-12-11T13:50:33.711" v="9052" actId="478"/>
          <ac:picMkLst>
            <pc:docMk/>
            <pc:sldMk cId="2422762125" sldId="283"/>
            <ac:picMk id="12" creationId="{7F166E49-5E44-F0C3-B77D-C8572D9F996B}"/>
          </ac:picMkLst>
        </pc:picChg>
        <pc:picChg chg="add del mod">
          <ac:chgData name="Pierre CHAVANNE" userId="2e2e2412-eb49-4787-bd3d-d17adeb25e11" providerId="ADAL" clId="{8E769656-82DF-4740-BA14-9D4801EE0342}" dt="2023-12-11T12:52:10.541" v="7124" actId="478"/>
          <ac:picMkLst>
            <pc:docMk/>
            <pc:sldMk cId="2422762125" sldId="283"/>
            <ac:picMk id="18" creationId="{6FF4A4E8-F543-3FFC-4012-78A6BE00123C}"/>
          </ac:picMkLst>
        </pc:picChg>
        <pc:picChg chg="add del mod">
          <ac:chgData name="Pierre CHAVANNE" userId="2e2e2412-eb49-4787-bd3d-d17adeb25e11" providerId="ADAL" clId="{8E769656-82DF-4740-BA14-9D4801EE0342}" dt="2023-12-11T13:50:27.258" v="9047" actId="478"/>
          <ac:picMkLst>
            <pc:docMk/>
            <pc:sldMk cId="2422762125" sldId="283"/>
            <ac:picMk id="20" creationId="{17F72769-34E8-32BA-AADE-A7AE015C71F6}"/>
          </ac:picMkLst>
        </pc:picChg>
        <pc:picChg chg="add del mod">
          <ac:chgData name="Pierre CHAVANNE" userId="2e2e2412-eb49-4787-bd3d-d17adeb25e11" providerId="ADAL" clId="{8E769656-82DF-4740-BA14-9D4801EE0342}" dt="2023-12-11T13:49:12.565" v="9038" actId="478"/>
          <ac:picMkLst>
            <pc:docMk/>
            <pc:sldMk cId="2422762125" sldId="283"/>
            <ac:picMk id="22" creationId="{2B87D39B-46AC-8967-91AE-1DCB711607D8}"/>
          </ac:picMkLst>
        </pc:picChg>
        <pc:picChg chg="add del mod">
          <ac:chgData name="Pierre CHAVANNE" userId="2e2e2412-eb49-4787-bd3d-d17adeb25e11" providerId="ADAL" clId="{8E769656-82DF-4740-BA14-9D4801EE0342}" dt="2023-12-11T13:50:27.691" v="9048" actId="478"/>
          <ac:picMkLst>
            <pc:docMk/>
            <pc:sldMk cId="2422762125" sldId="283"/>
            <ac:picMk id="32" creationId="{5703B5C9-90D3-7DF5-05A6-3997ED5F26FE}"/>
          </ac:picMkLst>
        </pc:picChg>
        <pc:picChg chg="add mod">
          <ac:chgData name="Pierre CHAVANNE" userId="2e2e2412-eb49-4787-bd3d-d17adeb25e11" providerId="ADAL" clId="{8E769656-82DF-4740-BA14-9D4801EE0342}" dt="2023-12-11T13:51:27.112" v="9080" actId="1076"/>
          <ac:picMkLst>
            <pc:docMk/>
            <pc:sldMk cId="2422762125" sldId="283"/>
            <ac:picMk id="34" creationId="{ED999AE7-E13F-C983-CEDF-477B32721CDF}"/>
          </ac:picMkLst>
        </pc:picChg>
        <pc:cxnChg chg="add del mod">
          <ac:chgData name="Pierre CHAVANNE" userId="2e2e2412-eb49-4787-bd3d-d17adeb25e11" providerId="ADAL" clId="{8E769656-82DF-4740-BA14-9D4801EE0342}" dt="2023-12-11T10:44:40.575" v="2580" actId="478"/>
          <ac:cxnSpMkLst>
            <pc:docMk/>
            <pc:sldMk cId="2422762125" sldId="283"/>
            <ac:cxnSpMk id="13" creationId="{CE5660E7-7A45-4749-E6AE-D8ECD3EB00B2}"/>
          </ac:cxnSpMkLst>
        </pc:cxnChg>
        <pc:cxnChg chg="add del mod">
          <ac:chgData name="Pierre CHAVANNE" userId="2e2e2412-eb49-4787-bd3d-d17adeb25e11" providerId="ADAL" clId="{8E769656-82DF-4740-BA14-9D4801EE0342}" dt="2023-12-11T10:45:24.054" v="2591" actId="478"/>
          <ac:cxnSpMkLst>
            <pc:docMk/>
            <pc:sldMk cId="2422762125" sldId="283"/>
            <ac:cxnSpMk id="15" creationId="{F5776FC6-AF69-B948-0005-B6FBEFB7453F}"/>
          </ac:cxnSpMkLst>
        </pc:cxnChg>
        <pc:cxnChg chg="add del mod">
          <ac:chgData name="Pierre CHAVANNE" userId="2e2e2412-eb49-4787-bd3d-d17adeb25e11" providerId="ADAL" clId="{8E769656-82DF-4740-BA14-9D4801EE0342}" dt="2023-12-11T10:55:33.224" v="3118" actId="478"/>
          <ac:cxnSpMkLst>
            <pc:docMk/>
            <pc:sldMk cId="2422762125" sldId="283"/>
            <ac:cxnSpMk id="16" creationId="{D664964D-FFE1-E95A-A596-CE6D2B93D1EC}"/>
          </ac:cxnSpMkLst>
        </pc:cxnChg>
        <pc:cxnChg chg="add del mod">
          <ac:chgData name="Pierre CHAVANNE" userId="2e2e2412-eb49-4787-bd3d-d17adeb25e11" providerId="ADAL" clId="{8E769656-82DF-4740-BA14-9D4801EE0342}" dt="2023-12-11T13:42:38.906" v="9002" actId="478"/>
          <ac:cxnSpMkLst>
            <pc:docMk/>
            <pc:sldMk cId="2422762125" sldId="283"/>
            <ac:cxnSpMk id="24" creationId="{5A4FE4E1-B29A-D3ED-F964-CE484AD8014D}"/>
          </ac:cxnSpMkLst>
        </pc:cxnChg>
        <pc:cxnChg chg="add del mod">
          <ac:chgData name="Pierre CHAVANNE" userId="2e2e2412-eb49-4787-bd3d-d17adeb25e11" providerId="ADAL" clId="{8E769656-82DF-4740-BA14-9D4801EE0342}" dt="2023-12-11T13:42:38.135" v="9001" actId="478"/>
          <ac:cxnSpMkLst>
            <pc:docMk/>
            <pc:sldMk cId="2422762125" sldId="283"/>
            <ac:cxnSpMk id="26" creationId="{F5664C0D-86AD-BD9E-9B56-852FE094F60D}"/>
          </ac:cxnSpMkLst>
        </pc:cxnChg>
      </pc:sldChg>
      <pc:sldChg chg="addSp delSp modSp add del mod">
        <pc:chgData name="Pierre CHAVANNE" userId="2e2e2412-eb49-4787-bd3d-d17adeb25e11" providerId="ADAL" clId="{8E769656-82DF-4740-BA14-9D4801EE0342}" dt="2023-12-11T10:44:50.558" v="2583" actId="47"/>
        <pc:sldMkLst>
          <pc:docMk/>
          <pc:sldMk cId="2221103149" sldId="284"/>
        </pc:sldMkLst>
        <pc:picChg chg="add mod">
          <ac:chgData name="Pierre CHAVANNE" userId="2e2e2412-eb49-4787-bd3d-d17adeb25e11" providerId="ADAL" clId="{8E769656-82DF-4740-BA14-9D4801EE0342}" dt="2023-12-11T09:54:49.062" v="1301"/>
          <ac:picMkLst>
            <pc:docMk/>
            <pc:sldMk cId="2221103149" sldId="284"/>
            <ac:picMk id="3" creationId="{DD8FF3AB-6E2E-CE90-A8DC-C86708800251}"/>
          </ac:picMkLst>
        </pc:picChg>
        <pc:picChg chg="del">
          <ac:chgData name="Pierre CHAVANNE" userId="2e2e2412-eb49-4787-bd3d-d17adeb25e11" providerId="ADAL" clId="{8E769656-82DF-4740-BA14-9D4801EE0342}" dt="2023-12-11T09:54:48.847" v="1300" actId="478"/>
          <ac:picMkLst>
            <pc:docMk/>
            <pc:sldMk cId="2221103149" sldId="284"/>
            <ac:picMk id="12" creationId="{7F166E49-5E44-F0C3-B77D-C8572D9F996B}"/>
          </ac:picMkLst>
        </pc:picChg>
      </pc:sldChg>
      <pc:sldChg chg="addSp delSp modSp add del mod">
        <pc:chgData name="Pierre CHAVANNE" userId="2e2e2412-eb49-4787-bd3d-d17adeb25e11" providerId="ADAL" clId="{8E769656-82DF-4740-BA14-9D4801EE0342}" dt="2023-12-11T10:44:50.920" v="2584" actId="47"/>
        <pc:sldMkLst>
          <pc:docMk/>
          <pc:sldMk cId="477509053" sldId="285"/>
        </pc:sldMkLst>
        <pc:picChg chg="add mod">
          <ac:chgData name="Pierre CHAVANNE" userId="2e2e2412-eb49-4787-bd3d-d17adeb25e11" providerId="ADAL" clId="{8E769656-82DF-4740-BA14-9D4801EE0342}" dt="2023-12-11T09:54:57.579" v="1303"/>
          <ac:picMkLst>
            <pc:docMk/>
            <pc:sldMk cId="477509053" sldId="285"/>
            <ac:picMk id="3" creationId="{679211F3-7A8A-CE6E-83F2-0203960C9CC3}"/>
          </ac:picMkLst>
        </pc:picChg>
        <pc:picChg chg="del">
          <ac:chgData name="Pierre CHAVANNE" userId="2e2e2412-eb49-4787-bd3d-d17adeb25e11" providerId="ADAL" clId="{8E769656-82DF-4740-BA14-9D4801EE0342}" dt="2023-12-11T09:54:52.152" v="1302" actId="478"/>
          <ac:picMkLst>
            <pc:docMk/>
            <pc:sldMk cId="477509053" sldId="285"/>
            <ac:picMk id="12" creationId="{7F166E49-5E44-F0C3-B77D-C8572D9F996B}"/>
          </ac:picMkLst>
        </pc:picChg>
      </pc:sldChg>
      <pc:sldChg chg="addSp delSp modSp add del mod ord">
        <pc:chgData name="Pierre CHAVANNE" userId="2e2e2412-eb49-4787-bd3d-d17adeb25e11" providerId="ADAL" clId="{8E769656-82DF-4740-BA14-9D4801EE0342}" dt="2023-12-11T10:44:49.981" v="2582" actId="47"/>
        <pc:sldMkLst>
          <pc:docMk/>
          <pc:sldMk cId="2786043269" sldId="286"/>
        </pc:sldMkLst>
        <pc:picChg chg="add mod">
          <ac:chgData name="Pierre CHAVANNE" userId="2e2e2412-eb49-4787-bd3d-d17adeb25e11" providerId="ADAL" clId="{8E769656-82DF-4740-BA14-9D4801EE0342}" dt="2023-12-11T09:54:39.211" v="1297"/>
          <ac:picMkLst>
            <pc:docMk/>
            <pc:sldMk cId="2786043269" sldId="286"/>
            <ac:picMk id="3" creationId="{AA1F94D7-D6D6-F4AE-5A1E-0D3F79824924}"/>
          </ac:picMkLst>
        </pc:picChg>
        <pc:picChg chg="del">
          <ac:chgData name="Pierre CHAVANNE" userId="2e2e2412-eb49-4787-bd3d-d17adeb25e11" providerId="ADAL" clId="{8E769656-82DF-4740-BA14-9D4801EE0342}" dt="2023-12-11T09:54:39.068" v="1296" actId="478"/>
          <ac:picMkLst>
            <pc:docMk/>
            <pc:sldMk cId="2786043269" sldId="286"/>
            <ac:picMk id="12" creationId="{7F166E49-5E44-F0C3-B77D-C8572D9F996B}"/>
          </ac:picMkLst>
        </pc:picChg>
        <pc:cxnChg chg="add mod">
          <ac:chgData name="Pierre CHAVANNE" userId="2e2e2412-eb49-4787-bd3d-d17adeb25e11" providerId="ADAL" clId="{8E769656-82DF-4740-BA14-9D4801EE0342}" dt="2023-12-11T10:44:42.460" v="2581"/>
          <ac:cxnSpMkLst>
            <pc:docMk/>
            <pc:sldMk cId="2786043269" sldId="286"/>
            <ac:cxnSpMk id="4" creationId="{9F3031E6-F238-11BA-ADD6-C8D45E28C20E}"/>
          </ac:cxnSpMkLst>
        </pc:cxnChg>
      </pc:sldChg>
      <pc:sldChg chg="addSp delSp modSp add del mod">
        <pc:chgData name="Pierre CHAVANNE" userId="2e2e2412-eb49-4787-bd3d-d17adeb25e11" providerId="ADAL" clId="{8E769656-82DF-4740-BA14-9D4801EE0342}" dt="2023-12-11T10:44:51.507" v="2585" actId="47"/>
        <pc:sldMkLst>
          <pc:docMk/>
          <pc:sldMk cId="3392872092" sldId="287"/>
        </pc:sldMkLst>
        <pc:picChg chg="del">
          <ac:chgData name="Pierre CHAVANNE" userId="2e2e2412-eb49-4787-bd3d-d17adeb25e11" providerId="ADAL" clId="{8E769656-82DF-4740-BA14-9D4801EE0342}" dt="2023-12-11T09:55:00.880" v="1305" actId="478"/>
          <ac:picMkLst>
            <pc:docMk/>
            <pc:sldMk cId="3392872092" sldId="287"/>
            <ac:picMk id="3" creationId="{679211F3-7A8A-CE6E-83F2-0203960C9CC3}"/>
          </ac:picMkLst>
        </pc:picChg>
        <pc:picChg chg="add mod">
          <ac:chgData name="Pierre CHAVANNE" userId="2e2e2412-eb49-4787-bd3d-d17adeb25e11" providerId="ADAL" clId="{8E769656-82DF-4740-BA14-9D4801EE0342}" dt="2023-12-11T09:55:05.978" v="1306"/>
          <ac:picMkLst>
            <pc:docMk/>
            <pc:sldMk cId="3392872092" sldId="287"/>
            <ac:picMk id="4" creationId="{5BDCAE65-24C6-299E-B5BA-46EFE4027871}"/>
          </ac:picMkLst>
        </pc:picChg>
      </pc:sldChg>
      <pc:sldChg chg="addSp delSp modSp add mod">
        <pc:chgData name="Pierre CHAVANNE" userId="2e2e2412-eb49-4787-bd3d-d17adeb25e11" providerId="ADAL" clId="{8E769656-82DF-4740-BA14-9D4801EE0342}" dt="2023-12-11T14:49:56.422" v="10542" actId="478"/>
        <pc:sldMkLst>
          <pc:docMk/>
          <pc:sldMk cId="2982571789" sldId="288"/>
        </pc:sldMkLst>
        <pc:spChg chg="mod">
          <ac:chgData name="Pierre CHAVANNE" userId="2e2e2412-eb49-4787-bd3d-d17adeb25e11" providerId="ADAL" clId="{8E769656-82DF-4740-BA14-9D4801EE0342}" dt="2023-12-11T10:55:40.041" v="3133" actId="1037"/>
          <ac:spMkLst>
            <pc:docMk/>
            <pc:sldMk cId="2982571789" sldId="288"/>
            <ac:spMk id="2" creationId="{E52B8373-62D1-544B-7A5C-41B622D6A38F}"/>
          </ac:spMkLst>
        </pc:spChg>
        <pc:spChg chg="mod">
          <ac:chgData name="Pierre CHAVANNE" userId="2e2e2412-eb49-4787-bd3d-d17adeb25e11" providerId="ADAL" clId="{8E769656-82DF-4740-BA14-9D4801EE0342}" dt="2023-12-11T10:55:40.041" v="3133" actId="1037"/>
          <ac:spMkLst>
            <pc:docMk/>
            <pc:sldMk cId="2982571789" sldId="288"/>
            <ac:spMk id="7" creationId="{6AD4CBD7-D9A7-169D-4153-387F366F0D29}"/>
          </ac:spMkLst>
        </pc:spChg>
        <pc:spChg chg="del">
          <ac:chgData name="Pierre CHAVANNE" userId="2e2e2412-eb49-4787-bd3d-d17adeb25e11" providerId="ADAL" clId="{8E769656-82DF-4740-BA14-9D4801EE0342}" dt="2023-12-11T13:21:30.073" v="8435" actId="478"/>
          <ac:spMkLst>
            <pc:docMk/>
            <pc:sldMk cId="2982571789" sldId="288"/>
            <ac:spMk id="10" creationId="{18B9EFBA-7F92-0321-957B-DC732358BF5F}"/>
          </ac:spMkLst>
        </pc:spChg>
        <pc:spChg chg="add mod">
          <ac:chgData name="Pierre CHAVANNE" userId="2e2e2412-eb49-4787-bd3d-d17adeb25e11" providerId="ADAL" clId="{8E769656-82DF-4740-BA14-9D4801EE0342}" dt="2023-12-11T13:26:43.011" v="8704" actId="14100"/>
          <ac:spMkLst>
            <pc:docMk/>
            <pc:sldMk cId="2982571789" sldId="288"/>
            <ac:spMk id="14" creationId="{244A11D9-903C-063B-57C5-F8DBD33A487B}"/>
          </ac:spMkLst>
        </pc:spChg>
        <pc:picChg chg="add mod">
          <ac:chgData name="Pierre CHAVANNE" userId="2e2e2412-eb49-4787-bd3d-d17adeb25e11" providerId="ADAL" clId="{8E769656-82DF-4740-BA14-9D4801EE0342}" dt="2023-12-11T14:11:38.856" v="9478" actId="1076"/>
          <ac:picMkLst>
            <pc:docMk/>
            <pc:sldMk cId="2982571789" sldId="288"/>
            <ac:picMk id="3" creationId="{115FE826-D431-B526-7FB9-25C8F9B80A93}"/>
          </ac:picMkLst>
        </pc:picChg>
        <pc:picChg chg="add del mod">
          <ac:chgData name="Pierre CHAVANNE" userId="2e2e2412-eb49-4787-bd3d-d17adeb25e11" providerId="ADAL" clId="{8E769656-82DF-4740-BA14-9D4801EE0342}" dt="2023-12-11T13:23:13.396" v="8507" actId="478"/>
          <ac:picMkLst>
            <pc:docMk/>
            <pc:sldMk cId="2982571789" sldId="288"/>
            <ac:picMk id="4" creationId="{C669777C-3A10-5B83-899D-407CAC31C4D6}"/>
          </ac:picMkLst>
        </pc:picChg>
        <pc:picChg chg="add del mod">
          <ac:chgData name="Pierre CHAVANNE" userId="2e2e2412-eb49-4787-bd3d-d17adeb25e11" providerId="ADAL" clId="{8E769656-82DF-4740-BA14-9D4801EE0342}" dt="2023-12-11T13:23:14.391" v="8508" actId="478"/>
          <ac:picMkLst>
            <pc:docMk/>
            <pc:sldMk cId="2982571789" sldId="288"/>
            <ac:picMk id="5" creationId="{B79F9F34-E5AE-6C3A-42B6-DEB59C278BEC}"/>
          </ac:picMkLst>
        </pc:picChg>
        <pc:picChg chg="del">
          <ac:chgData name="Pierre CHAVANNE" userId="2e2e2412-eb49-4787-bd3d-d17adeb25e11" providerId="ADAL" clId="{8E769656-82DF-4740-BA14-9D4801EE0342}" dt="2023-12-11T09:55:56.103" v="1337" actId="478"/>
          <ac:picMkLst>
            <pc:docMk/>
            <pc:sldMk cId="2982571789" sldId="288"/>
            <ac:picMk id="9" creationId="{74138B21-8BED-2EEA-0121-834C63B4CA6F}"/>
          </ac:picMkLst>
        </pc:picChg>
        <pc:picChg chg="del">
          <ac:chgData name="Pierre CHAVANNE" userId="2e2e2412-eb49-4787-bd3d-d17adeb25e11" providerId="ADAL" clId="{8E769656-82DF-4740-BA14-9D4801EE0342}" dt="2023-12-11T09:55:59.500" v="1339" actId="478"/>
          <ac:picMkLst>
            <pc:docMk/>
            <pc:sldMk cId="2982571789" sldId="288"/>
            <ac:picMk id="11" creationId="{A59A8CA7-335D-148D-139F-61BD26B83F34}"/>
          </ac:picMkLst>
        </pc:picChg>
        <pc:picChg chg="del">
          <ac:chgData name="Pierre CHAVANNE" userId="2e2e2412-eb49-4787-bd3d-d17adeb25e11" providerId="ADAL" clId="{8E769656-82DF-4740-BA14-9D4801EE0342}" dt="2023-12-11T09:55:43.336" v="1323" actId="478"/>
          <ac:picMkLst>
            <pc:docMk/>
            <pc:sldMk cId="2982571789" sldId="288"/>
            <ac:picMk id="12" creationId="{7F166E49-5E44-F0C3-B77D-C8572D9F996B}"/>
          </ac:picMkLst>
        </pc:picChg>
        <pc:picChg chg="add del mod">
          <ac:chgData name="Pierre CHAVANNE" userId="2e2e2412-eb49-4787-bd3d-d17adeb25e11" providerId="ADAL" clId="{8E769656-82DF-4740-BA14-9D4801EE0342}" dt="2023-12-11T14:08:02.319" v="9458" actId="478"/>
          <ac:picMkLst>
            <pc:docMk/>
            <pc:sldMk cId="2982571789" sldId="288"/>
            <ac:picMk id="16" creationId="{40BFAEAC-0EE2-B8FF-03E4-F99F7E2FCF67}"/>
          </ac:picMkLst>
        </pc:picChg>
        <pc:picChg chg="add mod">
          <ac:chgData name="Pierre CHAVANNE" userId="2e2e2412-eb49-4787-bd3d-d17adeb25e11" providerId="ADAL" clId="{8E769656-82DF-4740-BA14-9D4801EE0342}" dt="2023-12-11T14:49:54.366" v="10541" actId="1036"/>
          <ac:picMkLst>
            <pc:docMk/>
            <pc:sldMk cId="2982571789" sldId="288"/>
            <ac:picMk id="20" creationId="{9DA74D9A-992B-8F96-2317-AC22A113A389}"/>
          </ac:picMkLst>
        </pc:picChg>
        <pc:picChg chg="add mod">
          <ac:chgData name="Pierre CHAVANNE" userId="2e2e2412-eb49-4787-bd3d-d17adeb25e11" providerId="ADAL" clId="{8E769656-82DF-4740-BA14-9D4801EE0342}" dt="2023-12-11T14:49:52.712" v="10537" actId="1035"/>
          <ac:picMkLst>
            <pc:docMk/>
            <pc:sldMk cId="2982571789" sldId="288"/>
            <ac:picMk id="3074" creationId="{0E49D444-10C0-572B-FCCA-2680B1B8C583}"/>
          </ac:picMkLst>
        </pc:picChg>
        <pc:cxnChg chg="add del mod">
          <ac:chgData name="Pierre CHAVANNE" userId="2e2e2412-eb49-4787-bd3d-d17adeb25e11" providerId="ADAL" clId="{8E769656-82DF-4740-BA14-9D4801EE0342}" dt="2023-12-11T10:45:37.458" v="2618" actId="478"/>
          <ac:cxnSpMkLst>
            <pc:docMk/>
            <pc:sldMk cId="2982571789" sldId="288"/>
            <ac:cxnSpMk id="8" creationId="{CB5B9C59-3150-C1C4-9F77-4BF6C99A2D04}"/>
          </ac:cxnSpMkLst>
        </pc:cxnChg>
        <pc:cxnChg chg="add del mod">
          <ac:chgData name="Pierre CHAVANNE" userId="2e2e2412-eb49-4787-bd3d-d17adeb25e11" providerId="ADAL" clId="{8E769656-82DF-4740-BA14-9D4801EE0342}" dt="2023-12-11T10:55:42.585" v="3134" actId="478"/>
          <ac:cxnSpMkLst>
            <pc:docMk/>
            <pc:sldMk cId="2982571789" sldId="288"/>
            <ac:cxnSpMk id="13" creationId="{F76BD4C9-A4FD-F938-F79E-ADE10C90BDC2}"/>
          </ac:cxnSpMkLst>
        </pc:cxnChg>
        <pc:cxnChg chg="add del mod">
          <ac:chgData name="Pierre CHAVANNE" userId="2e2e2412-eb49-4787-bd3d-d17adeb25e11" providerId="ADAL" clId="{8E769656-82DF-4740-BA14-9D4801EE0342}" dt="2023-12-11T13:43:47.296" v="9027" actId="478"/>
          <ac:cxnSpMkLst>
            <pc:docMk/>
            <pc:sldMk cId="2982571789" sldId="288"/>
            <ac:cxnSpMk id="17" creationId="{905AB92A-DCC4-8A49-CD73-DEBC444678FE}"/>
          </ac:cxnSpMkLst>
        </pc:cxnChg>
        <pc:cxnChg chg="add del mod">
          <ac:chgData name="Pierre CHAVANNE" userId="2e2e2412-eb49-4787-bd3d-d17adeb25e11" providerId="ADAL" clId="{8E769656-82DF-4740-BA14-9D4801EE0342}" dt="2023-12-11T13:43:47.296" v="9027" actId="478"/>
          <ac:cxnSpMkLst>
            <pc:docMk/>
            <pc:sldMk cId="2982571789" sldId="288"/>
            <ac:cxnSpMk id="18" creationId="{7667886E-B7F7-3417-2898-B7459A8FF4FC}"/>
          </ac:cxnSpMkLst>
        </pc:cxnChg>
        <pc:cxnChg chg="add del mod">
          <ac:chgData name="Pierre CHAVANNE" userId="2e2e2412-eb49-4787-bd3d-d17adeb25e11" providerId="ADAL" clId="{8E769656-82DF-4740-BA14-9D4801EE0342}" dt="2023-12-11T14:49:56.422" v="10542" actId="478"/>
          <ac:cxnSpMkLst>
            <pc:docMk/>
            <pc:sldMk cId="2982571789" sldId="288"/>
            <ac:cxnSpMk id="21" creationId="{BB22FE70-6E36-591E-1664-F01EE153E27A}"/>
          </ac:cxnSpMkLst>
        </pc:cxnChg>
      </pc:sldChg>
      <pc:sldChg chg="add del">
        <pc:chgData name="Pierre CHAVANNE" userId="2e2e2412-eb49-4787-bd3d-d17adeb25e11" providerId="ADAL" clId="{8E769656-82DF-4740-BA14-9D4801EE0342}" dt="2023-12-11T10:44:59.110" v="2586" actId="47"/>
        <pc:sldMkLst>
          <pc:docMk/>
          <pc:sldMk cId="1787220315" sldId="289"/>
        </pc:sldMkLst>
      </pc:sldChg>
      <pc:sldChg chg="addSp delSp modSp add del mod">
        <pc:chgData name="Pierre CHAVANNE" userId="2e2e2412-eb49-4787-bd3d-d17adeb25e11" providerId="ADAL" clId="{8E769656-82DF-4740-BA14-9D4801EE0342}" dt="2023-12-11T10:45:02.766" v="2587" actId="47"/>
        <pc:sldMkLst>
          <pc:docMk/>
          <pc:sldMk cId="1400871981" sldId="290"/>
        </pc:sldMkLst>
        <pc:spChg chg="mod">
          <ac:chgData name="Pierre CHAVANNE" userId="2e2e2412-eb49-4787-bd3d-d17adeb25e11" providerId="ADAL" clId="{8E769656-82DF-4740-BA14-9D4801EE0342}" dt="2023-12-11T09:56:27.053" v="1365" actId="20577"/>
          <ac:spMkLst>
            <pc:docMk/>
            <pc:sldMk cId="1400871981" sldId="290"/>
            <ac:spMk id="7" creationId="{6AD4CBD7-D9A7-169D-4153-387F366F0D29}"/>
          </ac:spMkLst>
        </pc:spChg>
        <pc:picChg chg="del">
          <ac:chgData name="Pierre CHAVANNE" userId="2e2e2412-eb49-4787-bd3d-d17adeb25e11" providerId="ADAL" clId="{8E769656-82DF-4740-BA14-9D4801EE0342}" dt="2023-12-11T09:56:10.104" v="1344" actId="478"/>
          <ac:picMkLst>
            <pc:docMk/>
            <pc:sldMk cId="1400871981" sldId="290"/>
            <ac:picMk id="3" creationId="{115FE826-D431-B526-7FB9-25C8F9B80A93}"/>
          </ac:picMkLst>
        </pc:picChg>
        <pc:picChg chg="del">
          <ac:chgData name="Pierre CHAVANNE" userId="2e2e2412-eb49-4787-bd3d-d17adeb25e11" providerId="ADAL" clId="{8E769656-82DF-4740-BA14-9D4801EE0342}" dt="2023-12-11T09:56:14.507" v="1346" actId="478"/>
          <ac:picMkLst>
            <pc:docMk/>
            <pc:sldMk cId="1400871981" sldId="290"/>
            <ac:picMk id="4" creationId="{C669777C-3A10-5B83-899D-407CAC31C4D6}"/>
          </ac:picMkLst>
        </pc:picChg>
        <pc:picChg chg="del">
          <ac:chgData name="Pierre CHAVANNE" userId="2e2e2412-eb49-4787-bd3d-d17adeb25e11" providerId="ADAL" clId="{8E769656-82DF-4740-BA14-9D4801EE0342}" dt="2023-12-11T09:56:17.909" v="1348" actId="478"/>
          <ac:picMkLst>
            <pc:docMk/>
            <pc:sldMk cId="1400871981" sldId="290"/>
            <ac:picMk id="5" creationId="{B79F9F34-E5AE-6C3A-42B6-DEB59C278BEC}"/>
          </ac:picMkLst>
        </pc:picChg>
        <pc:picChg chg="add mod">
          <ac:chgData name="Pierre CHAVANNE" userId="2e2e2412-eb49-4787-bd3d-d17adeb25e11" providerId="ADAL" clId="{8E769656-82DF-4740-BA14-9D4801EE0342}" dt="2023-12-11T09:56:10.265" v="1345"/>
          <ac:picMkLst>
            <pc:docMk/>
            <pc:sldMk cId="1400871981" sldId="290"/>
            <ac:picMk id="8" creationId="{1C71661C-E97A-8384-1720-6DDE2140BD8B}"/>
          </ac:picMkLst>
        </pc:picChg>
        <pc:picChg chg="add mod">
          <ac:chgData name="Pierre CHAVANNE" userId="2e2e2412-eb49-4787-bd3d-d17adeb25e11" providerId="ADAL" clId="{8E769656-82DF-4740-BA14-9D4801EE0342}" dt="2023-12-11T09:56:14.756" v="1347"/>
          <ac:picMkLst>
            <pc:docMk/>
            <pc:sldMk cId="1400871981" sldId="290"/>
            <ac:picMk id="9" creationId="{75FECEEF-18AA-C05F-19DA-BEE6757161A9}"/>
          </ac:picMkLst>
        </pc:picChg>
        <pc:picChg chg="add mod">
          <ac:chgData name="Pierre CHAVANNE" userId="2e2e2412-eb49-4787-bd3d-d17adeb25e11" providerId="ADAL" clId="{8E769656-82DF-4740-BA14-9D4801EE0342}" dt="2023-12-11T09:56:18.061" v="1349"/>
          <ac:picMkLst>
            <pc:docMk/>
            <pc:sldMk cId="1400871981" sldId="290"/>
            <ac:picMk id="11" creationId="{280E7838-52F4-1E8A-9E99-BE2051C86189}"/>
          </ac:picMkLst>
        </pc:picChg>
      </pc:sldChg>
      <pc:sldChg chg="addSp delSp modSp add del mod">
        <pc:chgData name="Pierre CHAVANNE" userId="2e2e2412-eb49-4787-bd3d-d17adeb25e11" providerId="ADAL" clId="{8E769656-82DF-4740-BA14-9D4801EE0342}" dt="2023-12-11T10:45:04.393" v="2588" actId="47"/>
        <pc:sldMkLst>
          <pc:docMk/>
          <pc:sldMk cId="2558247237" sldId="291"/>
        </pc:sldMkLst>
        <pc:spChg chg="mod">
          <ac:chgData name="Pierre CHAVANNE" userId="2e2e2412-eb49-4787-bd3d-d17adeb25e11" providerId="ADAL" clId="{8E769656-82DF-4740-BA14-9D4801EE0342}" dt="2023-12-11T09:56:39.555" v="1382" actId="20577"/>
          <ac:spMkLst>
            <pc:docMk/>
            <pc:sldMk cId="2558247237" sldId="291"/>
            <ac:spMk id="7" creationId="{6AD4CBD7-D9A7-169D-4153-387F366F0D29}"/>
          </ac:spMkLst>
        </pc:spChg>
        <pc:spChg chg="mod">
          <ac:chgData name="Pierre CHAVANNE" userId="2e2e2412-eb49-4787-bd3d-d17adeb25e11" providerId="ADAL" clId="{8E769656-82DF-4740-BA14-9D4801EE0342}" dt="2023-12-11T09:56:52.317" v="1387" actId="1076"/>
          <ac:spMkLst>
            <pc:docMk/>
            <pc:sldMk cId="2558247237" sldId="291"/>
            <ac:spMk id="10" creationId="{18B9EFBA-7F92-0321-957B-DC732358BF5F}"/>
          </ac:spMkLst>
        </pc:spChg>
        <pc:picChg chg="add mod">
          <ac:chgData name="Pierre CHAVANNE" userId="2e2e2412-eb49-4787-bd3d-d17adeb25e11" providerId="ADAL" clId="{8E769656-82DF-4740-BA14-9D4801EE0342}" dt="2023-12-11T09:56:53.715" v="1388" actId="1076"/>
          <ac:picMkLst>
            <pc:docMk/>
            <pc:sldMk cId="2558247237" sldId="291"/>
            <ac:picMk id="3" creationId="{E50A1780-36EB-04BB-D82B-D6A7B3456677}"/>
          </ac:picMkLst>
        </pc:picChg>
        <pc:picChg chg="del mod">
          <ac:chgData name="Pierre CHAVANNE" userId="2e2e2412-eb49-4787-bd3d-d17adeb25e11" providerId="ADAL" clId="{8E769656-82DF-4740-BA14-9D4801EE0342}" dt="2023-12-11T09:56:48.779" v="1384" actId="478"/>
          <ac:picMkLst>
            <pc:docMk/>
            <pc:sldMk cId="2558247237" sldId="291"/>
            <ac:picMk id="8" creationId="{1C71661C-E97A-8384-1720-6DDE2140BD8B}"/>
          </ac:picMkLst>
        </pc:picChg>
      </pc:sldChg>
      <pc:sldChg chg="modSp add del mod">
        <pc:chgData name="Pierre CHAVANNE" userId="2e2e2412-eb49-4787-bd3d-d17adeb25e11" providerId="ADAL" clId="{8E769656-82DF-4740-BA14-9D4801EE0342}" dt="2023-12-11T10:45:53.297" v="2619" actId="47"/>
        <pc:sldMkLst>
          <pc:docMk/>
          <pc:sldMk cId="4261631526" sldId="292"/>
        </pc:sldMkLst>
        <pc:spChg chg="mod">
          <ac:chgData name="Pierre CHAVANNE" userId="2e2e2412-eb49-4787-bd3d-d17adeb25e11" providerId="ADAL" clId="{8E769656-82DF-4740-BA14-9D4801EE0342}" dt="2023-12-11T09:58:09.860" v="1431" actId="20577"/>
          <ac:spMkLst>
            <pc:docMk/>
            <pc:sldMk cId="4261631526" sldId="292"/>
            <ac:spMk id="2" creationId="{E52B8373-62D1-544B-7A5C-41B622D6A38F}"/>
          </ac:spMkLst>
        </pc:spChg>
      </pc:sldChg>
      <pc:sldChg chg="add del">
        <pc:chgData name="Pierre CHAVANNE" userId="2e2e2412-eb49-4787-bd3d-d17adeb25e11" providerId="ADAL" clId="{8E769656-82DF-4740-BA14-9D4801EE0342}" dt="2023-12-11T10:45:54.091" v="2620" actId="47"/>
        <pc:sldMkLst>
          <pc:docMk/>
          <pc:sldMk cId="368996734" sldId="293"/>
        </pc:sldMkLst>
      </pc:sldChg>
      <pc:sldChg chg="add del">
        <pc:chgData name="Pierre CHAVANNE" userId="2e2e2412-eb49-4787-bd3d-d17adeb25e11" providerId="ADAL" clId="{8E769656-82DF-4740-BA14-9D4801EE0342}" dt="2023-12-11T10:45:54.294" v="2621" actId="47"/>
        <pc:sldMkLst>
          <pc:docMk/>
          <pc:sldMk cId="45434313" sldId="294"/>
        </pc:sldMkLst>
      </pc:sldChg>
      <pc:sldChg chg="add del">
        <pc:chgData name="Pierre CHAVANNE" userId="2e2e2412-eb49-4787-bd3d-d17adeb25e11" providerId="ADAL" clId="{8E769656-82DF-4740-BA14-9D4801EE0342}" dt="2023-12-11T10:45:54.494" v="2622" actId="47"/>
        <pc:sldMkLst>
          <pc:docMk/>
          <pc:sldMk cId="1471408875" sldId="295"/>
        </pc:sldMkLst>
      </pc:sldChg>
      <pc:sldChg chg="add del">
        <pc:chgData name="Pierre CHAVANNE" userId="2e2e2412-eb49-4787-bd3d-d17adeb25e11" providerId="ADAL" clId="{8E769656-82DF-4740-BA14-9D4801EE0342}" dt="2023-12-11T10:45:54.666" v="2623" actId="47"/>
        <pc:sldMkLst>
          <pc:docMk/>
          <pc:sldMk cId="610366147" sldId="296"/>
        </pc:sldMkLst>
      </pc:sldChg>
      <pc:sldChg chg="add del">
        <pc:chgData name="Pierre CHAVANNE" userId="2e2e2412-eb49-4787-bd3d-d17adeb25e11" providerId="ADAL" clId="{8E769656-82DF-4740-BA14-9D4801EE0342}" dt="2023-12-11T10:45:55.094" v="2624" actId="47"/>
        <pc:sldMkLst>
          <pc:docMk/>
          <pc:sldMk cId="4147860598" sldId="297"/>
        </pc:sldMkLst>
      </pc:sldChg>
      <pc:sldChg chg="add del">
        <pc:chgData name="Pierre CHAVANNE" userId="2e2e2412-eb49-4787-bd3d-d17adeb25e11" providerId="ADAL" clId="{8E769656-82DF-4740-BA14-9D4801EE0342}" dt="2023-12-11T10:45:55.470" v="2625" actId="47"/>
        <pc:sldMkLst>
          <pc:docMk/>
          <pc:sldMk cId="180031293" sldId="298"/>
        </pc:sldMkLst>
      </pc:sldChg>
      <pc:sldChg chg="add del">
        <pc:chgData name="Pierre CHAVANNE" userId="2e2e2412-eb49-4787-bd3d-d17adeb25e11" providerId="ADAL" clId="{8E769656-82DF-4740-BA14-9D4801EE0342}" dt="2023-12-11T10:45:55.748" v="2626" actId="47"/>
        <pc:sldMkLst>
          <pc:docMk/>
          <pc:sldMk cId="3001168462" sldId="299"/>
        </pc:sldMkLst>
      </pc:sldChg>
      <pc:sldChg chg="add del">
        <pc:chgData name="Pierre CHAVANNE" userId="2e2e2412-eb49-4787-bd3d-d17adeb25e11" providerId="ADAL" clId="{8E769656-82DF-4740-BA14-9D4801EE0342}" dt="2023-12-11T10:45:56.018" v="2627" actId="47"/>
        <pc:sldMkLst>
          <pc:docMk/>
          <pc:sldMk cId="3137802050" sldId="300"/>
        </pc:sldMkLst>
      </pc:sldChg>
      <pc:sldChg chg="add del">
        <pc:chgData name="Pierre CHAVANNE" userId="2e2e2412-eb49-4787-bd3d-d17adeb25e11" providerId="ADAL" clId="{8E769656-82DF-4740-BA14-9D4801EE0342}" dt="2023-12-11T10:45:56.542" v="2628" actId="47"/>
        <pc:sldMkLst>
          <pc:docMk/>
          <pc:sldMk cId="1178979171" sldId="301"/>
        </pc:sldMkLst>
      </pc:sldChg>
      <pc:sldChg chg="add del">
        <pc:chgData name="Pierre CHAVANNE" userId="2e2e2412-eb49-4787-bd3d-d17adeb25e11" providerId="ADAL" clId="{8E769656-82DF-4740-BA14-9D4801EE0342}" dt="2023-12-11T10:45:56.798" v="2629" actId="47"/>
        <pc:sldMkLst>
          <pc:docMk/>
          <pc:sldMk cId="1596515574" sldId="302"/>
        </pc:sldMkLst>
      </pc:sldChg>
      <pc:sldChg chg="add del">
        <pc:chgData name="Pierre CHAVANNE" userId="2e2e2412-eb49-4787-bd3d-d17adeb25e11" providerId="ADAL" clId="{8E769656-82DF-4740-BA14-9D4801EE0342}" dt="2023-12-11T10:45:57.282" v="2630" actId="47"/>
        <pc:sldMkLst>
          <pc:docMk/>
          <pc:sldMk cId="3621249945" sldId="303"/>
        </pc:sldMkLst>
      </pc:sldChg>
      <pc:sldChg chg="add del">
        <pc:chgData name="Pierre CHAVANNE" userId="2e2e2412-eb49-4787-bd3d-d17adeb25e11" providerId="ADAL" clId="{8E769656-82DF-4740-BA14-9D4801EE0342}" dt="2023-12-11T10:45:57.591" v="2631" actId="47"/>
        <pc:sldMkLst>
          <pc:docMk/>
          <pc:sldMk cId="861598911" sldId="304"/>
        </pc:sldMkLst>
      </pc:sldChg>
      <pc:sldChg chg="add del">
        <pc:chgData name="Pierre CHAVANNE" userId="2e2e2412-eb49-4787-bd3d-d17adeb25e11" providerId="ADAL" clId="{8E769656-82DF-4740-BA14-9D4801EE0342}" dt="2023-12-11T10:45:58" v="2632" actId="47"/>
        <pc:sldMkLst>
          <pc:docMk/>
          <pc:sldMk cId="1588576779" sldId="305"/>
        </pc:sldMkLst>
      </pc:sldChg>
      <pc:sldChg chg="add del">
        <pc:chgData name="Pierre CHAVANNE" userId="2e2e2412-eb49-4787-bd3d-d17adeb25e11" providerId="ADAL" clId="{8E769656-82DF-4740-BA14-9D4801EE0342}" dt="2023-12-11T10:45:58.430" v="2633" actId="47"/>
        <pc:sldMkLst>
          <pc:docMk/>
          <pc:sldMk cId="47991204" sldId="306"/>
        </pc:sldMkLst>
      </pc:sldChg>
      <pc:sldChg chg="add del">
        <pc:chgData name="Pierre CHAVANNE" userId="2e2e2412-eb49-4787-bd3d-d17adeb25e11" providerId="ADAL" clId="{8E769656-82DF-4740-BA14-9D4801EE0342}" dt="2023-12-11T10:45:58.893" v="2634" actId="47"/>
        <pc:sldMkLst>
          <pc:docMk/>
          <pc:sldMk cId="3713550629" sldId="307"/>
        </pc:sldMkLst>
      </pc:sldChg>
      <pc:sldChg chg="add del">
        <pc:chgData name="Pierre CHAVANNE" userId="2e2e2412-eb49-4787-bd3d-d17adeb25e11" providerId="ADAL" clId="{8E769656-82DF-4740-BA14-9D4801EE0342}" dt="2023-12-11T10:45:59.444" v="2635" actId="47"/>
        <pc:sldMkLst>
          <pc:docMk/>
          <pc:sldMk cId="2527639591" sldId="308"/>
        </pc:sldMkLst>
      </pc:sldChg>
      <pc:sldChg chg="addSp delSp modSp add del mod">
        <pc:chgData name="Pierre CHAVANNE" userId="2e2e2412-eb49-4787-bd3d-d17adeb25e11" providerId="ADAL" clId="{8E769656-82DF-4740-BA14-9D4801EE0342}" dt="2023-12-11T15:13:40.080" v="11359" actId="478"/>
        <pc:sldMkLst>
          <pc:docMk/>
          <pc:sldMk cId="1004113706" sldId="309"/>
        </pc:sldMkLst>
        <pc:spChg chg="mod">
          <ac:chgData name="Pierre CHAVANNE" userId="2e2e2412-eb49-4787-bd3d-d17adeb25e11" providerId="ADAL" clId="{8E769656-82DF-4740-BA14-9D4801EE0342}" dt="2023-12-11T09:58:40.226" v="1450" actId="5793"/>
          <ac:spMkLst>
            <pc:docMk/>
            <pc:sldMk cId="1004113706" sldId="309"/>
            <ac:spMk id="2" creationId="{E52B8373-62D1-544B-7A5C-41B622D6A38F}"/>
          </ac:spMkLst>
        </pc:spChg>
        <pc:spChg chg="del mod">
          <ac:chgData name="Pierre CHAVANNE" userId="2e2e2412-eb49-4787-bd3d-d17adeb25e11" providerId="ADAL" clId="{8E769656-82DF-4740-BA14-9D4801EE0342}" dt="2023-12-11T15:13:37.834" v="11358" actId="478"/>
          <ac:spMkLst>
            <pc:docMk/>
            <pc:sldMk cId="1004113706" sldId="309"/>
            <ac:spMk id="3" creationId="{E705A79E-16A3-E045-2AA9-C06990D51039}"/>
          </ac:spMkLst>
        </pc:spChg>
        <pc:spChg chg="add del mod">
          <ac:chgData name="Pierre CHAVANNE" userId="2e2e2412-eb49-4787-bd3d-d17adeb25e11" providerId="ADAL" clId="{8E769656-82DF-4740-BA14-9D4801EE0342}" dt="2023-12-11T15:13:40.080" v="11359" actId="478"/>
          <ac:spMkLst>
            <pc:docMk/>
            <pc:sldMk cId="1004113706" sldId="309"/>
            <ac:spMk id="5" creationId="{D294B8A5-6A8C-8316-5494-162452CCBB08}"/>
          </ac:spMkLst>
        </pc:spChg>
      </pc:sldChg>
      <pc:sldChg chg="delSp modSp new del mod">
        <pc:chgData name="Pierre CHAVANNE" userId="2e2e2412-eb49-4787-bd3d-d17adeb25e11" providerId="ADAL" clId="{8E769656-82DF-4740-BA14-9D4801EE0342}" dt="2023-12-11T10:01:11.004" v="1503" actId="47"/>
        <pc:sldMkLst>
          <pc:docMk/>
          <pc:sldMk cId="1785950837" sldId="310"/>
        </pc:sldMkLst>
        <pc:spChg chg="del">
          <ac:chgData name="Pierre CHAVANNE" userId="2e2e2412-eb49-4787-bd3d-d17adeb25e11" providerId="ADAL" clId="{8E769656-82DF-4740-BA14-9D4801EE0342}" dt="2023-12-11T09:59:00.007" v="1455" actId="478"/>
          <ac:spMkLst>
            <pc:docMk/>
            <pc:sldMk cId="1785950837" sldId="310"/>
            <ac:spMk id="3" creationId="{35771932-71C9-C6E0-52FC-214B6C2B276C}"/>
          </ac:spMkLst>
        </pc:spChg>
        <pc:spChg chg="mod">
          <ac:chgData name="Pierre CHAVANNE" userId="2e2e2412-eb49-4787-bd3d-d17adeb25e11" providerId="ADAL" clId="{8E769656-82DF-4740-BA14-9D4801EE0342}" dt="2023-12-11T10:01:00.155" v="1502" actId="20577"/>
          <ac:spMkLst>
            <pc:docMk/>
            <pc:sldMk cId="1785950837" sldId="310"/>
            <ac:spMk id="4" creationId="{A9C2269D-9A14-A6CD-DF3C-F85E5AA47AAA}"/>
          </ac:spMkLst>
        </pc:spChg>
      </pc:sldChg>
      <pc:sldChg chg="addSp delSp modSp add mod">
        <pc:chgData name="Pierre CHAVANNE" userId="2e2e2412-eb49-4787-bd3d-d17adeb25e11" providerId="ADAL" clId="{8E769656-82DF-4740-BA14-9D4801EE0342}" dt="2023-12-11T10:56:36.236" v="3155" actId="478"/>
        <pc:sldMkLst>
          <pc:docMk/>
          <pc:sldMk cId="2745529957" sldId="311"/>
        </pc:sldMkLst>
        <pc:spChg chg="mod">
          <ac:chgData name="Pierre CHAVANNE" userId="2e2e2412-eb49-4787-bd3d-d17adeb25e11" providerId="ADAL" clId="{8E769656-82DF-4740-BA14-9D4801EE0342}" dt="2023-12-11T10:56:32.397" v="3154" actId="1038"/>
          <ac:spMkLst>
            <pc:docMk/>
            <pc:sldMk cId="2745529957" sldId="311"/>
            <ac:spMk id="2" creationId="{E52B8373-62D1-544B-7A5C-41B622D6A38F}"/>
          </ac:spMkLst>
        </pc:spChg>
        <pc:spChg chg="add del mod">
          <ac:chgData name="Pierre CHAVANNE" userId="2e2e2412-eb49-4787-bd3d-d17adeb25e11" providerId="ADAL" clId="{8E769656-82DF-4740-BA14-9D4801EE0342}" dt="2023-12-11T10:00:01.939" v="1475" actId="478"/>
          <ac:spMkLst>
            <pc:docMk/>
            <pc:sldMk cId="2745529957" sldId="311"/>
            <ac:spMk id="5" creationId="{F642F4E0-B530-A558-DA33-EF3030D3E94D}"/>
          </ac:spMkLst>
        </pc:spChg>
        <pc:spChg chg="del">
          <ac:chgData name="Pierre CHAVANNE" userId="2e2e2412-eb49-4787-bd3d-d17adeb25e11" providerId="ADAL" clId="{8E769656-82DF-4740-BA14-9D4801EE0342}" dt="2023-12-11T09:59:38.522" v="1469" actId="478"/>
          <ac:spMkLst>
            <pc:docMk/>
            <pc:sldMk cId="2745529957" sldId="311"/>
            <ac:spMk id="7" creationId="{6AD4CBD7-D9A7-169D-4153-387F366F0D29}"/>
          </ac:spMkLst>
        </pc:spChg>
        <pc:spChg chg="add mod">
          <ac:chgData name="Pierre CHAVANNE" userId="2e2e2412-eb49-4787-bd3d-d17adeb25e11" providerId="ADAL" clId="{8E769656-82DF-4740-BA14-9D4801EE0342}" dt="2023-12-11T10:00:31.382" v="1493" actId="20577"/>
          <ac:spMkLst>
            <pc:docMk/>
            <pc:sldMk cId="2745529957" sldId="311"/>
            <ac:spMk id="8" creationId="{15A4040C-50A3-5593-AB6E-492E3D6866BA}"/>
          </ac:spMkLst>
        </pc:spChg>
        <pc:spChg chg="del">
          <ac:chgData name="Pierre CHAVANNE" userId="2e2e2412-eb49-4787-bd3d-d17adeb25e11" providerId="ADAL" clId="{8E769656-82DF-4740-BA14-9D4801EE0342}" dt="2023-12-11T09:59:40.625" v="1472" actId="478"/>
          <ac:spMkLst>
            <pc:docMk/>
            <pc:sldMk cId="2745529957" sldId="311"/>
            <ac:spMk id="10" creationId="{18B9EFBA-7F92-0321-957B-DC732358BF5F}"/>
          </ac:spMkLst>
        </pc:spChg>
        <pc:picChg chg="del">
          <ac:chgData name="Pierre CHAVANNE" userId="2e2e2412-eb49-4787-bd3d-d17adeb25e11" providerId="ADAL" clId="{8E769656-82DF-4740-BA14-9D4801EE0342}" dt="2023-12-11T09:59:41.080" v="1473" actId="478"/>
          <ac:picMkLst>
            <pc:docMk/>
            <pc:sldMk cId="2745529957" sldId="311"/>
            <ac:picMk id="3" creationId="{E50A1780-36EB-04BB-D82B-D6A7B3456677}"/>
          </ac:picMkLst>
        </pc:picChg>
        <pc:picChg chg="del">
          <ac:chgData name="Pierre CHAVANNE" userId="2e2e2412-eb49-4787-bd3d-d17adeb25e11" providerId="ADAL" clId="{8E769656-82DF-4740-BA14-9D4801EE0342}" dt="2023-12-11T09:59:38.932" v="1470" actId="478"/>
          <ac:picMkLst>
            <pc:docMk/>
            <pc:sldMk cId="2745529957" sldId="311"/>
            <ac:picMk id="9" creationId="{75FECEEF-18AA-C05F-19DA-BEE6757161A9}"/>
          </ac:picMkLst>
        </pc:picChg>
        <pc:picChg chg="del">
          <ac:chgData name="Pierre CHAVANNE" userId="2e2e2412-eb49-4787-bd3d-d17adeb25e11" providerId="ADAL" clId="{8E769656-82DF-4740-BA14-9D4801EE0342}" dt="2023-12-11T09:59:39.410" v="1471" actId="478"/>
          <ac:picMkLst>
            <pc:docMk/>
            <pc:sldMk cId="2745529957" sldId="311"/>
            <ac:picMk id="11" creationId="{280E7838-52F4-1E8A-9E99-BE2051C86189}"/>
          </ac:picMkLst>
        </pc:picChg>
        <pc:picChg chg="add mod">
          <ac:chgData name="Pierre CHAVANNE" userId="2e2e2412-eb49-4787-bd3d-d17adeb25e11" providerId="ADAL" clId="{8E769656-82DF-4740-BA14-9D4801EE0342}" dt="2023-12-11T10:00:41.239" v="1494"/>
          <ac:picMkLst>
            <pc:docMk/>
            <pc:sldMk cId="2745529957" sldId="311"/>
            <ac:picMk id="12" creationId="{57CB0D8F-857D-FD6C-FC26-0976A3D671B6}"/>
          </ac:picMkLst>
        </pc:picChg>
        <pc:picChg chg="add mod">
          <ac:chgData name="Pierre CHAVANNE" userId="2e2e2412-eb49-4787-bd3d-d17adeb25e11" providerId="ADAL" clId="{8E769656-82DF-4740-BA14-9D4801EE0342}" dt="2023-12-11T10:00:41.239" v="1494"/>
          <ac:picMkLst>
            <pc:docMk/>
            <pc:sldMk cId="2745529957" sldId="311"/>
            <ac:picMk id="13" creationId="{DD2F2E39-B36D-7D3D-A07F-F405396398C0}"/>
          </ac:picMkLst>
        </pc:picChg>
        <pc:picChg chg="add mod">
          <ac:chgData name="Pierre CHAVANNE" userId="2e2e2412-eb49-4787-bd3d-d17adeb25e11" providerId="ADAL" clId="{8E769656-82DF-4740-BA14-9D4801EE0342}" dt="2023-12-11T10:00:44.690" v="1495"/>
          <ac:picMkLst>
            <pc:docMk/>
            <pc:sldMk cId="2745529957" sldId="311"/>
            <ac:picMk id="15" creationId="{46362E79-B6B3-786B-2E38-5B07EC4CC2A6}"/>
          </ac:picMkLst>
        </pc:picChg>
        <pc:cxnChg chg="add mod">
          <ac:chgData name="Pierre CHAVANNE" userId="2e2e2412-eb49-4787-bd3d-d17adeb25e11" providerId="ADAL" clId="{8E769656-82DF-4740-BA14-9D4801EE0342}" dt="2023-12-11T10:00:41.239" v="1494"/>
          <ac:cxnSpMkLst>
            <pc:docMk/>
            <pc:sldMk cId="2745529957" sldId="311"/>
            <ac:cxnSpMk id="14" creationId="{E21AC21D-0F31-05B5-FC15-5F23D2D005C7}"/>
          </ac:cxnSpMkLst>
        </pc:cxnChg>
        <pc:cxnChg chg="add del mod">
          <ac:chgData name="Pierre CHAVANNE" userId="2e2e2412-eb49-4787-bd3d-d17adeb25e11" providerId="ADAL" clId="{8E769656-82DF-4740-BA14-9D4801EE0342}" dt="2023-12-11T10:56:36.236" v="3155" actId="478"/>
          <ac:cxnSpMkLst>
            <pc:docMk/>
            <pc:sldMk cId="2745529957" sldId="311"/>
            <ac:cxnSpMk id="16" creationId="{E59962E0-5FF9-26BA-EBAC-93DC52DDAEB0}"/>
          </ac:cxnSpMkLst>
        </pc:cxnChg>
      </pc:sldChg>
      <pc:sldChg chg="addSp delSp modSp add mod ord">
        <pc:chgData name="Pierre CHAVANNE" userId="2e2e2412-eb49-4787-bd3d-d17adeb25e11" providerId="ADAL" clId="{8E769656-82DF-4740-BA14-9D4801EE0342}" dt="2023-12-11T10:56:51.903" v="3180" actId="478"/>
        <pc:sldMkLst>
          <pc:docMk/>
          <pc:sldMk cId="987265392" sldId="312"/>
        </pc:sldMkLst>
        <pc:spChg chg="mod">
          <ac:chgData name="Pierre CHAVANNE" userId="2e2e2412-eb49-4787-bd3d-d17adeb25e11" providerId="ADAL" clId="{8E769656-82DF-4740-BA14-9D4801EE0342}" dt="2023-12-11T10:56:47.007" v="3179" actId="14100"/>
          <ac:spMkLst>
            <pc:docMk/>
            <pc:sldMk cId="987265392" sldId="312"/>
            <ac:spMk id="2" creationId="{E52B8373-62D1-544B-7A5C-41B622D6A38F}"/>
          </ac:spMkLst>
        </pc:spChg>
        <pc:spChg chg="mod">
          <ac:chgData name="Pierre CHAVANNE" userId="2e2e2412-eb49-4787-bd3d-d17adeb25e11" providerId="ADAL" clId="{8E769656-82DF-4740-BA14-9D4801EE0342}" dt="2023-12-11T10:03:36.036" v="1539" actId="14100"/>
          <ac:spMkLst>
            <pc:docMk/>
            <pc:sldMk cId="987265392" sldId="312"/>
            <ac:spMk id="8" creationId="{15A4040C-50A3-5593-AB6E-492E3D6866BA}"/>
          </ac:spMkLst>
        </pc:spChg>
        <pc:picChg chg="add mod">
          <ac:chgData name="Pierre CHAVANNE" userId="2e2e2412-eb49-4787-bd3d-d17adeb25e11" providerId="ADAL" clId="{8E769656-82DF-4740-BA14-9D4801EE0342}" dt="2023-12-11T10:03:42.600" v="1540" actId="1076"/>
          <ac:picMkLst>
            <pc:docMk/>
            <pc:sldMk cId="987265392" sldId="312"/>
            <ac:picMk id="4" creationId="{6CAAA102-F606-AA3F-1809-77BE15C4CF2D}"/>
          </ac:picMkLst>
        </pc:picChg>
        <pc:picChg chg="add mod modCrop">
          <ac:chgData name="Pierre CHAVANNE" userId="2e2e2412-eb49-4787-bd3d-d17adeb25e11" providerId="ADAL" clId="{8E769656-82DF-4740-BA14-9D4801EE0342}" dt="2023-12-11T10:03:33.086" v="1538" actId="14100"/>
          <ac:picMkLst>
            <pc:docMk/>
            <pc:sldMk cId="987265392" sldId="312"/>
            <ac:picMk id="5" creationId="{91A5421D-B56D-FFA7-AEA4-187A814BD45E}"/>
          </ac:picMkLst>
        </pc:picChg>
        <pc:picChg chg="del">
          <ac:chgData name="Pierre CHAVANNE" userId="2e2e2412-eb49-4787-bd3d-d17adeb25e11" providerId="ADAL" clId="{8E769656-82DF-4740-BA14-9D4801EE0342}" dt="2023-12-11T10:01:21.079" v="1518" actId="478"/>
          <ac:picMkLst>
            <pc:docMk/>
            <pc:sldMk cId="987265392" sldId="312"/>
            <ac:picMk id="12" creationId="{57CB0D8F-857D-FD6C-FC26-0976A3D671B6}"/>
          </ac:picMkLst>
        </pc:picChg>
        <pc:picChg chg="del">
          <ac:chgData name="Pierre CHAVANNE" userId="2e2e2412-eb49-4787-bd3d-d17adeb25e11" providerId="ADAL" clId="{8E769656-82DF-4740-BA14-9D4801EE0342}" dt="2023-12-11T10:01:23.084" v="1521" actId="478"/>
          <ac:picMkLst>
            <pc:docMk/>
            <pc:sldMk cId="987265392" sldId="312"/>
            <ac:picMk id="13" creationId="{DD2F2E39-B36D-7D3D-A07F-F405396398C0}"/>
          </ac:picMkLst>
        </pc:picChg>
        <pc:picChg chg="del">
          <ac:chgData name="Pierre CHAVANNE" userId="2e2e2412-eb49-4787-bd3d-d17adeb25e11" providerId="ADAL" clId="{8E769656-82DF-4740-BA14-9D4801EE0342}" dt="2023-12-11T10:01:21.895" v="1519" actId="478"/>
          <ac:picMkLst>
            <pc:docMk/>
            <pc:sldMk cId="987265392" sldId="312"/>
            <ac:picMk id="15" creationId="{46362E79-B6B3-786B-2E38-5B07EC4CC2A6}"/>
          </ac:picMkLst>
        </pc:picChg>
        <pc:cxnChg chg="add del mod">
          <ac:chgData name="Pierre CHAVANNE" userId="2e2e2412-eb49-4787-bd3d-d17adeb25e11" providerId="ADAL" clId="{8E769656-82DF-4740-BA14-9D4801EE0342}" dt="2023-12-11T10:56:51.903" v="3180" actId="478"/>
          <ac:cxnSpMkLst>
            <pc:docMk/>
            <pc:sldMk cId="987265392" sldId="312"/>
            <ac:cxnSpMk id="7" creationId="{125F2D4D-092C-5B82-A280-27D5A0C191B1}"/>
          </ac:cxnSpMkLst>
        </pc:cxnChg>
        <pc:cxnChg chg="del">
          <ac:chgData name="Pierre CHAVANNE" userId="2e2e2412-eb49-4787-bd3d-d17adeb25e11" providerId="ADAL" clId="{8E769656-82DF-4740-BA14-9D4801EE0342}" dt="2023-12-11T10:01:22.742" v="1520" actId="478"/>
          <ac:cxnSpMkLst>
            <pc:docMk/>
            <pc:sldMk cId="987265392" sldId="312"/>
            <ac:cxnSpMk id="14" creationId="{E21AC21D-0F31-05B5-FC15-5F23D2D005C7}"/>
          </ac:cxnSpMkLst>
        </pc:cxnChg>
      </pc:sldChg>
      <pc:sldChg chg="addSp delSp modSp add mod">
        <pc:chgData name="Pierre CHAVANNE" userId="2e2e2412-eb49-4787-bd3d-d17adeb25e11" providerId="ADAL" clId="{8E769656-82DF-4740-BA14-9D4801EE0342}" dt="2023-12-11T10:48:47.854" v="2759" actId="478"/>
        <pc:sldMkLst>
          <pc:docMk/>
          <pc:sldMk cId="160292422" sldId="313"/>
        </pc:sldMkLst>
        <pc:spChg chg="mod">
          <ac:chgData name="Pierre CHAVANNE" userId="2e2e2412-eb49-4787-bd3d-d17adeb25e11" providerId="ADAL" clId="{8E769656-82DF-4740-BA14-9D4801EE0342}" dt="2023-12-11T10:47:42.803" v="2690" actId="20577"/>
          <ac:spMkLst>
            <pc:docMk/>
            <pc:sldMk cId="160292422" sldId="313"/>
            <ac:spMk id="2" creationId="{E52B8373-62D1-544B-7A5C-41B622D6A38F}"/>
          </ac:spMkLst>
        </pc:spChg>
        <pc:spChg chg="mod">
          <ac:chgData name="Pierre CHAVANNE" userId="2e2e2412-eb49-4787-bd3d-d17adeb25e11" providerId="ADAL" clId="{8E769656-82DF-4740-BA14-9D4801EE0342}" dt="2023-12-11T10:47:51.313" v="2691"/>
          <ac:spMkLst>
            <pc:docMk/>
            <pc:sldMk cId="160292422" sldId="313"/>
            <ac:spMk id="8" creationId="{2F9FB4FF-81EC-1CDC-52DE-524663965391}"/>
          </ac:spMkLst>
        </pc:spChg>
        <pc:picChg chg="add mod">
          <ac:chgData name="Pierre CHAVANNE" userId="2e2e2412-eb49-4787-bd3d-d17adeb25e11" providerId="ADAL" clId="{8E769656-82DF-4740-BA14-9D4801EE0342}" dt="2023-12-11T10:47:56.776" v="2693"/>
          <ac:picMkLst>
            <pc:docMk/>
            <pc:sldMk cId="160292422" sldId="313"/>
            <ac:picMk id="3" creationId="{17A92481-FE12-4A0B-A27B-8B3F7208C49C}"/>
          </ac:picMkLst>
        </pc:picChg>
        <pc:picChg chg="del">
          <ac:chgData name="Pierre CHAVANNE" userId="2e2e2412-eb49-4787-bd3d-d17adeb25e11" providerId="ADAL" clId="{8E769656-82DF-4740-BA14-9D4801EE0342}" dt="2023-12-11T10:47:56.453" v="2692" actId="478"/>
          <ac:picMkLst>
            <pc:docMk/>
            <pc:sldMk cId="160292422" sldId="313"/>
            <ac:picMk id="13" creationId="{7FB49E06-6225-686D-92D3-20CB5AC6E5D5}"/>
          </ac:picMkLst>
        </pc:picChg>
        <pc:cxnChg chg="del">
          <ac:chgData name="Pierre CHAVANNE" userId="2e2e2412-eb49-4787-bd3d-d17adeb25e11" providerId="ADAL" clId="{8E769656-82DF-4740-BA14-9D4801EE0342}" dt="2023-12-11T10:48:47.854" v="2759" actId="478"/>
          <ac:cxnSpMkLst>
            <pc:docMk/>
            <pc:sldMk cId="160292422" sldId="313"/>
            <ac:cxnSpMk id="14" creationId="{D7CABE47-2801-F070-5DBC-EC0F9BF401A1}"/>
          </ac:cxnSpMkLst>
        </pc:cxnChg>
      </pc:sldChg>
      <pc:sldChg chg="addSp delSp modSp add mod">
        <pc:chgData name="Pierre CHAVANNE" userId="2e2e2412-eb49-4787-bd3d-d17adeb25e11" providerId="ADAL" clId="{8E769656-82DF-4740-BA14-9D4801EE0342}" dt="2023-12-11T10:48:44.127" v="2758" actId="478"/>
        <pc:sldMkLst>
          <pc:docMk/>
          <pc:sldMk cId="3368016770" sldId="314"/>
        </pc:sldMkLst>
        <pc:spChg chg="mod">
          <ac:chgData name="Pierre CHAVANNE" userId="2e2e2412-eb49-4787-bd3d-d17adeb25e11" providerId="ADAL" clId="{8E769656-82DF-4740-BA14-9D4801EE0342}" dt="2023-12-11T10:48:19.221" v="2719" actId="14100"/>
          <ac:spMkLst>
            <pc:docMk/>
            <pc:sldMk cId="3368016770" sldId="314"/>
            <ac:spMk id="2" creationId="{E52B8373-62D1-544B-7A5C-41B622D6A38F}"/>
          </ac:spMkLst>
        </pc:spChg>
        <pc:spChg chg="mod">
          <ac:chgData name="Pierre CHAVANNE" userId="2e2e2412-eb49-4787-bd3d-d17adeb25e11" providerId="ADAL" clId="{8E769656-82DF-4740-BA14-9D4801EE0342}" dt="2023-12-11T10:48:31.049" v="2754" actId="20577"/>
          <ac:spMkLst>
            <pc:docMk/>
            <pc:sldMk cId="3368016770" sldId="314"/>
            <ac:spMk id="8" creationId="{2F9FB4FF-81EC-1CDC-52DE-524663965391}"/>
          </ac:spMkLst>
        </pc:spChg>
        <pc:picChg chg="del">
          <ac:chgData name="Pierre CHAVANNE" userId="2e2e2412-eb49-4787-bd3d-d17adeb25e11" providerId="ADAL" clId="{8E769656-82DF-4740-BA14-9D4801EE0342}" dt="2023-12-11T10:48:37.841" v="2755" actId="478"/>
          <ac:picMkLst>
            <pc:docMk/>
            <pc:sldMk cId="3368016770" sldId="314"/>
            <ac:picMk id="3" creationId="{17A92481-FE12-4A0B-A27B-8B3F7208C49C}"/>
          </ac:picMkLst>
        </pc:picChg>
        <pc:picChg chg="add mod">
          <ac:chgData name="Pierre CHAVANNE" userId="2e2e2412-eb49-4787-bd3d-d17adeb25e11" providerId="ADAL" clId="{8E769656-82DF-4740-BA14-9D4801EE0342}" dt="2023-12-11T10:48:38.094" v="2756"/>
          <ac:picMkLst>
            <pc:docMk/>
            <pc:sldMk cId="3368016770" sldId="314"/>
            <ac:picMk id="4" creationId="{94666A40-3D37-860C-37EC-957CD71B7F7D}"/>
          </ac:picMkLst>
        </pc:picChg>
        <pc:cxnChg chg="del">
          <ac:chgData name="Pierre CHAVANNE" userId="2e2e2412-eb49-4787-bd3d-d17adeb25e11" providerId="ADAL" clId="{8E769656-82DF-4740-BA14-9D4801EE0342}" dt="2023-12-11T10:48:44.127" v="2758" actId="478"/>
          <ac:cxnSpMkLst>
            <pc:docMk/>
            <pc:sldMk cId="3368016770" sldId="314"/>
            <ac:cxnSpMk id="14" creationId="{D7CABE47-2801-F070-5DBC-EC0F9BF401A1}"/>
          </ac:cxnSpMkLst>
        </pc:cxnChg>
      </pc:sldChg>
      <pc:sldChg chg="addSp delSp modSp add del mod">
        <pc:chgData name="Pierre CHAVANNE" userId="2e2e2412-eb49-4787-bd3d-d17adeb25e11" providerId="ADAL" clId="{8E769656-82DF-4740-BA14-9D4801EE0342}" dt="2023-12-11T13:06:00.548" v="7775" actId="47"/>
        <pc:sldMkLst>
          <pc:docMk/>
          <pc:sldMk cId="3475290162" sldId="315"/>
        </pc:sldMkLst>
        <pc:spChg chg="mod">
          <ac:chgData name="Pierre CHAVANNE" userId="2e2e2412-eb49-4787-bd3d-d17adeb25e11" providerId="ADAL" clId="{8E769656-82DF-4740-BA14-9D4801EE0342}" dt="2023-12-11T11:21:30.355" v="4541" actId="20577"/>
          <ac:spMkLst>
            <pc:docMk/>
            <pc:sldMk cId="3475290162" sldId="315"/>
            <ac:spMk id="7" creationId="{6AD4CBD7-D9A7-169D-4153-387F366F0D29}"/>
          </ac:spMkLst>
        </pc:spChg>
        <pc:picChg chg="add mod">
          <ac:chgData name="Pierre CHAVANNE" userId="2e2e2412-eb49-4787-bd3d-d17adeb25e11" providerId="ADAL" clId="{8E769656-82DF-4740-BA14-9D4801EE0342}" dt="2023-12-11T11:21:23.856" v="4526" actId="1076"/>
          <ac:picMkLst>
            <pc:docMk/>
            <pc:sldMk cId="3475290162" sldId="315"/>
            <ac:picMk id="4" creationId="{4F3C5F4B-D971-0666-E0CA-452100DA6C15}"/>
          </ac:picMkLst>
        </pc:picChg>
        <pc:picChg chg="add mod">
          <ac:chgData name="Pierre CHAVANNE" userId="2e2e2412-eb49-4787-bd3d-d17adeb25e11" providerId="ADAL" clId="{8E769656-82DF-4740-BA14-9D4801EE0342}" dt="2023-12-11T11:23:13.730" v="4622" actId="1076"/>
          <ac:picMkLst>
            <pc:docMk/>
            <pc:sldMk cId="3475290162" sldId="315"/>
            <ac:picMk id="8" creationId="{0E36CE85-7128-154E-8FF7-2199BBBCF904}"/>
          </ac:picMkLst>
        </pc:picChg>
        <pc:picChg chg="del">
          <ac:chgData name="Pierre CHAVANNE" userId="2e2e2412-eb49-4787-bd3d-d17adeb25e11" providerId="ADAL" clId="{8E769656-82DF-4740-BA14-9D4801EE0342}" dt="2023-12-11T11:21:15.670" v="4520" actId="478"/>
          <ac:picMkLst>
            <pc:docMk/>
            <pc:sldMk cId="3475290162" sldId="315"/>
            <ac:picMk id="11" creationId="{A59A8CA7-335D-148D-139F-61BD26B83F34}"/>
          </ac:picMkLst>
        </pc:picChg>
        <pc:picChg chg="del">
          <ac:chgData name="Pierre CHAVANNE" userId="2e2e2412-eb49-4787-bd3d-d17adeb25e11" providerId="ADAL" clId="{8E769656-82DF-4740-BA14-9D4801EE0342}" dt="2023-12-11T11:21:32.559" v="4542" actId="478"/>
          <ac:picMkLst>
            <pc:docMk/>
            <pc:sldMk cId="3475290162" sldId="315"/>
            <ac:picMk id="12" creationId="{7F166E49-5E44-F0C3-B77D-C8572D9F996B}"/>
          </ac:picMkLst>
        </pc:picChg>
        <pc:picChg chg="del mod">
          <ac:chgData name="Pierre CHAVANNE" userId="2e2e2412-eb49-4787-bd3d-d17adeb25e11" providerId="ADAL" clId="{8E769656-82DF-4740-BA14-9D4801EE0342}" dt="2023-12-11T11:21:15.091" v="4519" actId="478"/>
          <ac:picMkLst>
            <pc:docMk/>
            <pc:sldMk cId="3475290162" sldId="315"/>
            <ac:picMk id="18" creationId="{6FF4A4E8-F543-3FFC-4012-78A6BE00123C}"/>
          </ac:picMkLst>
        </pc:picChg>
      </pc:sldChg>
      <pc:sldChg chg="addSp delSp modSp add del mod">
        <pc:chgData name="Pierre CHAVANNE" userId="2e2e2412-eb49-4787-bd3d-d17adeb25e11" providerId="ADAL" clId="{8E769656-82DF-4740-BA14-9D4801EE0342}" dt="2023-12-11T13:01:43.265" v="7542" actId="47"/>
        <pc:sldMkLst>
          <pc:docMk/>
          <pc:sldMk cId="719242587" sldId="316"/>
        </pc:sldMkLst>
        <pc:spChg chg="mod">
          <ac:chgData name="Pierre CHAVANNE" userId="2e2e2412-eb49-4787-bd3d-d17adeb25e11" providerId="ADAL" clId="{8E769656-82DF-4740-BA14-9D4801EE0342}" dt="2023-12-11T11:21:51.388" v="4566" actId="6549"/>
          <ac:spMkLst>
            <pc:docMk/>
            <pc:sldMk cId="719242587" sldId="316"/>
            <ac:spMk id="7" creationId="{6AD4CBD7-D9A7-169D-4153-387F366F0D29}"/>
          </ac:spMkLst>
        </pc:spChg>
        <pc:picChg chg="del">
          <ac:chgData name="Pierre CHAVANNE" userId="2e2e2412-eb49-4787-bd3d-d17adeb25e11" providerId="ADAL" clId="{8E769656-82DF-4740-BA14-9D4801EE0342}" dt="2023-12-11T11:21:41.136" v="4544" actId="478"/>
          <ac:picMkLst>
            <pc:docMk/>
            <pc:sldMk cId="719242587" sldId="316"/>
            <ac:picMk id="4" creationId="{4F3C5F4B-D971-0666-E0CA-452100DA6C15}"/>
          </ac:picMkLst>
        </pc:picChg>
        <pc:picChg chg="add mod">
          <ac:chgData name="Pierre CHAVANNE" userId="2e2e2412-eb49-4787-bd3d-d17adeb25e11" providerId="ADAL" clId="{8E769656-82DF-4740-BA14-9D4801EE0342}" dt="2023-12-11T11:21:46.056" v="4548" actId="1076"/>
          <ac:picMkLst>
            <pc:docMk/>
            <pc:sldMk cId="719242587" sldId="316"/>
            <ac:picMk id="5" creationId="{6B5CF16E-DB4C-E4DB-5CAA-A96B62B0D7F9}"/>
          </ac:picMkLst>
        </pc:picChg>
        <pc:picChg chg="add mod">
          <ac:chgData name="Pierre CHAVANNE" userId="2e2e2412-eb49-4787-bd3d-d17adeb25e11" providerId="ADAL" clId="{8E769656-82DF-4740-BA14-9D4801EE0342}" dt="2023-12-11T11:23:24.056" v="4627" actId="1076"/>
          <ac:picMkLst>
            <pc:docMk/>
            <pc:sldMk cId="719242587" sldId="316"/>
            <ac:picMk id="9" creationId="{FCD467C2-72EA-85B8-CEB3-C866474CD4D3}"/>
          </ac:picMkLst>
        </pc:picChg>
      </pc:sldChg>
      <pc:sldChg chg="addSp delSp modSp add del mod">
        <pc:chgData name="Pierre CHAVANNE" userId="2e2e2412-eb49-4787-bd3d-d17adeb25e11" providerId="ADAL" clId="{8E769656-82DF-4740-BA14-9D4801EE0342}" dt="2023-12-11T13:18:00.958" v="8247" actId="47"/>
        <pc:sldMkLst>
          <pc:docMk/>
          <pc:sldMk cId="1943493688" sldId="317"/>
        </pc:sldMkLst>
        <pc:spChg chg="mod">
          <ac:chgData name="Pierre CHAVANNE" userId="2e2e2412-eb49-4787-bd3d-d17adeb25e11" providerId="ADAL" clId="{8E769656-82DF-4740-BA14-9D4801EE0342}" dt="2023-12-11T11:22:12.290" v="4593" actId="20577"/>
          <ac:spMkLst>
            <pc:docMk/>
            <pc:sldMk cId="1943493688" sldId="317"/>
            <ac:spMk id="7" creationId="{6AD4CBD7-D9A7-169D-4153-387F366F0D29}"/>
          </ac:spMkLst>
        </pc:spChg>
        <pc:picChg chg="add mod">
          <ac:chgData name="Pierre CHAVANNE" userId="2e2e2412-eb49-4787-bd3d-d17adeb25e11" providerId="ADAL" clId="{8E769656-82DF-4740-BA14-9D4801EE0342}" dt="2023-12-11T11:22:05.084" v="4572" actId="1076"/>
          <ac:picMkLst>
            <pc:docMk/>
            <pc:sldMk cId="1943493688" sldId="317"/>
            <ac:picMk id="4" creationId="{5CAAD2A1-33E6-E6E8-E313-77E40C22148B}"/>
          </ac:picMkLst>
        </pc:picChg>
        <pc:picChg chg="del">
          <ac:chgData name="Pierre CHAVANNE" userId="2e2e2412-eb49-4787-bd3d-d17adeb25e11" providerId="ADAL" clId="{8E769656-82DF-4740-BA14-9D4801EE0342}" dt="2023-12-11T11:22:04.092" v="4571" actId="478"/>
          <ac:picMkLst>
            <pc:docMk/>
            <pc:sldMk cId="1943493688" sldId="317"/>
            <ac:picMk id="5" creationId="{6B5CF16E-DB4C-E4DB-5CAA-A96B62B0D7F9}"/>
          </ac:picMkLst>
        </pc:picChg>
        <pc:picChg chg="add mod">
          <ac:chgData name="Pierre CHAVANNE" userId="2e2e2412-eb49-4787-bd3d-d17adeb25e11" providerId="ADAL" clId="{8E769656-82DF-4740-BA14-9D4801EE0342}" dt="2023-12-11T11:23:48.055" v="4632" actId="1076"/>
          <ac:picMkLst>
            <pc:docMk/>
            <pc:sldMk cId="1943493688" sldId="317"/>
            <ac:picMk id="9" creationId="{52A5593F-8342-E959-3490-F39326BE9A33}"/>
          </ac:picMkLst>
        </pc:picChg>
      </pc:sldChg>
      <pc:sldChg chg="addSp delSp modSp add del mod">
        <pc:chgData name="Pierre CHAVANNE" userId="2e2e2412-eb49-4787-bd3d-d17adeb25e11" providerId="ADAL" clId="{8E769656-82DF-4740-BA14-9D4801EE0342}" dt="2023-12-11T13:18:09.729" v="8249" actId="47"/>
        <pc:sldMkLst>
          <pc:docMk/>
          <pc:sldMk cId="4195112195" sldId="318"/>
        </pc:sldMkLst>
        <pc:spChg chg="mod">
          <ac:chgData name="Pierre CHAVANNE" userId="2e2e2412-eb49-4787-bd3d-d17adeb25e11" providerId="ADAL" clId="{8E769656-82DF-4740-BA14-9D4801EE0342}" dt="2023-12-11T11:22:26.106" v="4611" actId="20577"/>
          <ac:spMkLst>
            <pc:docMk/>
            <pc:sldMk cId="4195112195" sldId="318"/>
            <ac:spMk id="7" creationId="{6AD4CBD7-D9A7-169D-4153-387F366F0D29}"/>
          </ac:spMkLst>
        </pc:spChg>
        <pc:picChg chg="del">
          <ac:chgData name="Pierre CHAVANNE" userId="2e2e2412-eb49-4787-bd3d-d17adeb25e11" providerId="ADAL" clId="{8E769656-82DF-4740-BA14-9D4801EE0342}" dt="2023-12-11T11:22:18.090" v="4595" actId="478"/>
          <ac:picMkLst>
            <pc:docMk/>
            <pc:sldMk cId="4195112195" sldId="318"/>
            <ac:picMk id="4" creationId="{5CAAD2A1-33E6-E6E8-E313-77E40C22148B}"/>
          </ac:picMkLst>
        </pc:picChg>
        <pc:picChg chg="add mod">
          <ac:chgData name="Pierre CHAVANNE" userId="2e2e2412-eb49-4787-bd3d-d17adeb25e11" providerId="ADAL" clId="{8E769656-82DF-4740-BA14-9D4801EE0342}" dt="2023-12-11T11:22:35.441" v="4617" actId="1076"/>
          <ac:picMkLst>
            <pc:docMk/>
            <pc:sldMk cId="4195112195" sldId="318"/>
            <ac:picMk id="5" creationId="{41D33BC2-CC10-546F-B544-60530763D35E}"/>
          </ac:picMkLst>
        </pc:picChg>
        <pc:picChg chg="add mod">
          <ac:chgData name="Pierre CHAVANNE" userId="2e2e2412-eb49-4787-bd3d-d17adeb25e11" providerId="ADAL" clId="{8E769656-82DF-4740-BA14-9D4801EE0342}" dt="2023-12-11T11:23:56.126" v="4637" actId="1076"/>
          <ac:picMkLst>
            <pc:docMk/>
            <pc:sldMk cId="4195112195" sldId="318"/>
            <ac:picMk id="9" creationId="{6B86A3EC-7BB7-FE08-19DE-CC08D3C09FB7}"/>
          </ac:picMkLst>
        </pc:picChg>
      </pc:sldChg>
      <pc:sldChg chg="addSp delSp modSp add mod">
        <pc:chgData name="Pierre CHAVANNE" userId="2e2e2412-eb49-4787-bd3d-d17adeb25e11" providerId="ADAL" clId="{8E769656-82DF-4740-BA14-9D4801EE0342}" dt="2023-12-11T14:49:21.057" v="10459" actId="478"/>
        <pc:sldMkLst>
          <pc:docMk/>
          <pc:sldMk cId="2249207064" sldId="319"/>
        </pc:sldMkLst>
        <pc:spChg chg="mod">
          <ac:chgData name="Pierre CHAVANNE" userId="2e2e2412-eb49-4787-bd3d-d17adeb25e11" providerId="ADAL" clId="{8E769656-82DF-4740-BA14-9D4801EE0342}" dt="2023-12-11T13:01:23.629" v="7537" actId="20577"/>
          <ac:spMkLst>
            <pc:docMk/>
            <pc:sldMk cId="2249207064" sldId="319"/>
            <ac:spMk id="7" creationId="{6AD4CBD7-D9A7-169D-4153-387F366F0D29}"/>
          </ac:spMkLst>
        </pc:spChg>
        <pc:spChg chg="mod">
          <ac:chgData name="Pierre CHAVANNE" userId="2e2e2412-eb49-4787-bd3d-d17adeb25e11" providerId="ADAL" clId="{8E769656-82DF-4740-BA14-9D4801EE0342}" dt="2023-12-11T13:19:36.270" v="8335" actId="20577"/>
          <ac:spMkLst>
            <pc:docMk/>
            <pc:sldMk cId="2249207064" sldId="319"/>
            <ac:spMk id="10" creationId="{18B9EFBA-7F92-0321-957B-DC732358BF5F}"/>
          </ac:spMkLst>
        </pc:spChg>
        <pc:picChg chg="add mod">
          <ac:chgData name="Pierre CHAVANNE" userId="2e2e2412-eb49-4787-bd3d-d17adeb25e11" providerId="ADAL" clId="{8E769656-82DF-4740-BA14-9D4801EE0342}" dt="2023-12-11T14:12:54.750" v="9543" actId="1037"/>
          <ac:picMkLst>
            <pc:docMk/>
            <pc:sldMk cId="2249207064" sldId="319"/>
            <ac:picMk id="3" creationId="{D052C878-63F5-CB2C-319B-B621843BE9EA}"/>
          </ac:picMkLst>
        </pc:picChg>
        <pc:picChg chg="add mod">
          <ac:chgData name="Pierre CHAVANNE" userId="2e2e2412-eb49-4787-bd3d-d17adeb25e11" providerId="ADAL" clId="{8E769656-82DF-4740-BA14-9D4801EE0342}" dt="2023-12-11T14:49:14.944" v="10445" actId="1036"/>
          <ac:picMkLst>
            <pc:docMk/>
            <pc:sldMk cId="2249207064" sldId="319"/>
            <ac:picMk id="5" creationId="{89E71372-633B-C96E-833D-0C63FFF8C011}"/>
          </ac:picMkLst>
        </pc:picChg>
        <pc:picChg chg="add del mod">
          <ac:chgData name="Pierre CHAVANNE" userId="2e2e2412-eb49-4787-bd3d-d17adeb25e11" providerId="ADAL" clId="{8E769656-82DF-4740-BA14-9D4801EE0342}" dt="2023-12-11T13:58:09.823" v="9356" actId="478"/>
          <ac:picMkLst>
            <pc:docMk/>
            <pc:sldMk cId="2249207064" sldId="319"/>
            <ac:picMk id="9" creationId="{008589AA-59A6-2174-6B98-AE8F07F685EF}"/>
          </ac:picMkLst>
        </pc:picChg>
        <pc:picChg chg="del">
          <ac:chgData name="Pierre CHAVANNE" userId="2e2e2412-eb49-4787-bd3d-d17adeb25e11" providerId="ADAL" clId="{8E769656-82DF-4740-BA14-9D4801EE0342}" dt="2023-12-11T13:01:33.286" v="7538" actId="478"/>
          <ac:picMkLst>
            <pc:docMk/>
            <pc:sldMk cId="2249207064" sldId="319"/>
            <ac:picMk id="12" creationId="{7F166E49-5E44-F0C3-B77D-C8572D9F996B}"/>
          </ac:picMkLst>
        </pc:picChg>
        <pc:picChg chg="add mod modCrop">
          <ac:chgData name="Pierre CHAVANNE" userId="2e2e2412-eb49-4787-bd3d-d17adeb25e11" providerId="ADAL" clId="{8E769656-82DF-4740-BA14-9D4801EE0342}" dt="2023-12-11T14:49:18.801" v="10458" actId="1035"/>
          <ac:picMkLst>
            <pc:docMk/>
            <pc:sldMk cId="2249207064" sldId="319"/>
            <ac:picMk id="15" creationId="{3F1C550A-C601-9894-EE88-910FA14D429D}"/>
          </ac:picMkLst>
        </pc:picChg>
        <pc:picChg chg="del">
          <ac:chgData name="Pierre CHAVANNE" userId="2e2e2412-eb49-4787-bd3d-d17adeb25e11" providerId="ADAL" clId="{8E769656-82DF-4740-BA14-9D4801EE0342}" dt="2023-12-11T13:01:50.345" v="7543" actId="478"/>
          <ac:picMkLst>
            <pc:docMk/>
            <pc:sldMk cId="2249207064" sldId="319"/>
            <ac:picMk id="20" creationId="{17F72769-34E8-32BA-AADE-A7AE015C71F6}"/>
          </ac:picMkLst>
        </pc:picChg>
        <pc:picChg chg="del">
          <ac:chgData name="Pierre CHAVANNE" userId="2e2e2412-eb49-4787-bd3d-d17adeb25e11" providerId="ADAL" clId="{8E769656-82DF-4740-BA14-9D4801EE0342}" dt="2023-12-11T13:01:50.836" v="7544" actId="478"/>
          <ac:picMkLst>
            <pc:docMk/>
            <pc:sldMk cId="2249207064" sldId="319"/>
            <ac:picMk id="22" creationId="{2B87D39B-46AC-8967-91AE-1DCB711607D8}"/>
          </ac:picMkLst>
        </pc:picChg>
        <pc:cxnChg chg="add del mod">
          <ac:chgData name="Pierre CHAVANNE" userId="2e2e2412-eb49-4787-bd3d-d17adeb25e11" providerId="ADAL" clId="{8E769656-82DF-4740-BA14-9D4801EE0342}" dt="2023-12-11T13:42:35.485" v="9000" actId="478"/>
          <ac:cxnSpMkLst>
            <pc:docMk/>
            <pc:sldMk cId="2249207064" sldId="319"/>
            <ac:cxnSpMk id="11" creationId="{C021E13C-EF4A-813D-9A52-8A5DCFA31E02}"/>
          </ac:cxnSpMkLst>
        </pc:cxnChg>
        <pc:cxnChg chg="add del mod">
          <ac:chgData name="Pierre CHAVANNE" userId="2e2e2412-eb49-4787-bd3d-d17adeb25e11" providerId="ADAL" clId="{8E769656-82DF-4740-BA14-9D4801EE0342}" dt="2023-12-11T13:42:35.485" v="9000" actId="478"/>
          <ac:cxnSpMkLst>
            <pc:docMk/>
            <pc:sldMk cId="2249207064" sldId="319"/>
            <ac:cxnSpMk id="13" creationId="{F026B593-9FE9-8FA2-E5FA-A759D40ADE35}"/>
          </ac:cxnSpMkLst>
        </pc:cxnChg>
        <pc:cxnChg chg="add del mod">
          <ac:chgData name="Pierre CHAVANNE" userId="2e2e2412-eb49-4787-bd3d-d17adeb25e11" providerId="ADAL" clId="{8E769656-82DF-4740-BA14-9D4801EE0342}" dt="2023-12-11T14:13:14.021" v="9552" actId="478"/>
          <ac:cxnSpMkLst>
            <pc:docMk/>
            <pc:sldMk cId="2249207064" sldId="319"/>
            <ac:cxnSpMk id="16" creationId="{A21D545A-13F2-CA7F-4D3F-1944771AC8FF}"/>
          </ac:cxnSpMkLst>
        </pc:cxnChg>
        <pc:cxnChg chg="add del mod">
          <ac:chgData name="Pierre CHAVANNE" userId="2e2e2412-eb49-4787-bd3d-d17adeb25e11" providerId="ADAL" clId="{8E769656-82DF-4740-BA14-9D4801EE0342}" dt="2023-12-11T14:13:14.929" v="9553" actId="478"/>
          <ac:cxnSpMkLst>
            <pc:docMk/>
            <pc:sldMk cId="2249207064" sldId="319"/>
            <ac:cxnSpMk id="17" creationId="{A968C1FB-6223-C635-A178-8C2FA10CFC20}"/>
          </ac:cxnSpMkLst>
        </pc:cxnChg>
        <pc:cxnChg chg="add del mod">
          <ac:chgData name="Pierre CHAVANNE" userId="2e2e2412-eb49-4787-bd3d-d17adeb25e11" providerId="ADAL" clId="{8E769656-82DF-4740-BA14-9D4801EE0342}" dt="2023-12-11T14:49:21.057" v="10459" actId="478"/>
          <ac:cxnSpMkLst>
            <pc:docMk/>
            <pc:sldMk cId="2249207064" sldId="319"/>
            <ac:cxnSpMk id="18" creationId="{EE018B6D-3247-2613-1889-4A02BFC9FEB1}"/>
          </ac:cxnSpMkLst>
        </pc:cxnChg>
      </pc:sldChg>
      <pc:sldChg chg="addSp delSp modSp add mod">
        <pc:chgData name="Pierre CHAVANNE" userId="2e2e2412-eb49-4787-bd3d-d17adeb25e11" providerId="ADAL" clId="{8E769656-82DF-4740-BA14-9D4801EE0342}" dt="2023-12-11T14:49:30.012" v="10484" actId="478"/>
        <pc:sldMkLst>
          <pc:docMk/>
          <pc:sldMk cId="595425293" sldId="320"/>
        </pc:sldMkLst>
        <pc:spChg chg="mod">
          <ac:chgData name="Pierre CHAVANNE" userId="2e2e2412-eb49-4787-bd3d-d17adeb25e11" providerId="ADAL" clId="{8E769656-82DF-4740-BA14-9D4801EE0342}" dt="2023-12-11T13:06:29.507" v="7801" actId="6549"/>
          <ac:spMkLst>
            <pc:docMk/>
            <pc:sldMk cId="595425293" sldId="320"/>
            <ac:spMk id="7" creationId="{6AD4CBD7-D9A7-169D-4153-387F366F0D29}"/>
          </ac:spMkLst>
        </pc:spChg>
        <pc:spChg chg="mod">
          <ac:chgData name="Pierre CHAVANNE" userId="2e2e2412-eb49-4787-bd3d-d17adeb25e11" providerId="ADAL" clId="{8E769656-82DF-4740-BA14-9D4801EE0342}" dt="2023-12-11T13:19:33.216" v="8333" actId="20577"/>
          <ac:spMkLst>
            <pc:docMk/>
            <pc:sldMk cId="595425293" sldId="320"/>
            <ac:spMk id="10" creationId="{18B9EFBA-7F92-0321-957B-DC732358BF5F}"/>
          </ac:spMkLst>
        </pc:spChg>
        <pc:picChg chg="del">
          <ac:chgData name="Pierre CHAVANNE" userId="2e2e2412-eb49-4787-bd3d-d17adeb25e11" providerId="ADAL" clId="{8E769656-82DF-4740-BA14-9D4801EE0342}" dt="2023-12-11T13:06:18.599" v="7777" actId="478"/>
          <ac:picMkLst>
            <pc:docMk/>
            <pc:sldMk cId="595425293" sldId="320"/>
            <ac:picMk id="3" creationId="{D052C878-63F5-CB2C-319B-B621843BE9EA}"/>
          </ac:picMkLst>
        </pc:picChg>
        <pc:picChg chg="del">
          <ac:chgData name="Pierre CHAVANNE" userId="2e2e2412-eb49-4787-bd3d-d17adeb25e11" providerId="ADAL" clId="{8E769656-82DF-4740-BA14-9D4801EE0342}" dt="2023-12-11T13:06:19.630" v="7778" actId="478"/>
          <ac:picMkLst>
            <pc:docMk/>
            <pc:sldMk cId="595425293" sldId="320"/>
            <ac:picMk id="5" creationId="{89E71372-633B-C96E-833D-0C63FFF8C011}"/>
          </ac:picMkLst>
        </pc:picChg>
        <pc:picChg chg="add mod">
          <ac:chgData name="Pierre CHAVANNE" userId="2e2e2412-eb49-4787-bd3d-d17adeb25e11" providerId="ADAL" clId="{8E769656-82DF-4740-BA14-9D4801EE0342}" dt="2023-12-11T14:49:23.780" v="10463" actId="1036"/>
          <ac:picMkLst>
            <pc:docMk/>
            <pc:sldMk cId="595425293" sldId="320"/>
            <ac:picMk id="8" creationId="{0B0EF97D-3B1E-30BB-F474-E92FE16B7188}"/>
          </ac:picMkLst>
        </pc:picChg>
        <pc:picChg chg="del">
          <ac:chgData name="Pierre CHAVANNE" userId="2e2e2412-eb49-4787-bd3d-d17adeb25e11" providerId="ADAL" clId="{8E769656-82DF-4740-BA14-9D4801EE0342}" dt="2023-12-11T13:06:20.016" v="7779" actId="478"/>
          <ac:picMkLst>
            <pc:docMk/>
            <pc:sldMk cId="595425293" sldId="320"/>
            <ac:picMk id="9" creationId="{008589AA-59A6-2174-6B98-AE8F07F685EF}"/>
          </ac:picMkLst>
        </pc:picChg>
        <pc:picChg chg="add del mod">
          <ac:chgData name="Pierre CHAVANNE" userId="2e2e2412-eb49-4787-bd3d-d17adeb25e11" providerId="ADAL" clId="{8E769656-82DF-4740-BA14-9D4801EE0342}" dt="2023-12-11T13:58:29.284" v="9360" actId="478"/>
          <ac:picMkLst>
            <pc:docMk/>
            <pc:sldMk cId="595425293" sldId="320"/>
            <ac:picMk id="12" creationId="{00FADC39-6140-B053-157A-6488A6B38ACE}"/>
          </ac:picMkLst>
        </pc:picChg>
        <pc:picChg chg="add mod">
          <ac:chgData name="Pierre CHAVANNE" userId="2e2e2412-eb49-4787-bd3d-d17adeb25e11" providerId="ADAL" clId="{8E769656-82DF-4740-BA14-9D4801EE0342}" dt="2023-12-11T14:12:55.982" v="9544" actId="1037"/>
          <ac:picMkLst>
            <pc:docMk/>
            <pc:sldMk cId="595425293" sldId="320"/>
            <ac:picMk id="14" creationId="{D083DF6C-C39B-F1FC-A84B-0E3E4CA6EDB7}"/>
          </ac:picMkLst>
        </pc:picChg>
        <pc:picChg chg="add mod modCrop">
          <ac:chgData name="Pierre CHAVANNE" userId="2e2e2412-eb49-4787-bd3d-d17adeb25e11" providerId="ADAL" clId="{8E769656-82DF-4740-BA14-9D4801EE0342}" dt="2023-12-11T14:49:27.121" v="10483" actId="1036"/>
          <ac:picMkLst>
            <pc:docMk/>
            <pc:sldMk cId="595425293" sldId="320"/>
            <ac:picMk id="18" creationId="{78F4221C-B887-5C66-AE16-A43AB674CFDB}"/>
          </ac:picMkLst>
        </pc:picChg>
        <pc:cxnChg chg="add del mod">
          <ac:chgData name="Pierre CHAVANNE" userId="2e2e2412-eb49-4787-bd3d-d17adeb25e11" providerId="ADAL" clId="{8E769656-82DF-4740-BA14-9D4801EE0342}" dt="2023-12-11T13:42:55.858" v="9010" actId="478"/>
          <ac:cxnSpMkLst>
            <pc:docMk/>
            <pc:sldMk cId="595425293" sldId="320"/>
            <ac:cxnSpMk id="15" creationId="{C89BAB29-061C-65EB-94BE-3BD1E39EAFB3}"/>
          </ac:cxnSpMkLst>
        </pc:cxnChg>
        <pc:cxnChg chg="add del mod">
          <ac:chgData name="Pierre CHAVANNE" userId="2e2e2412-eb49-4787-bd3d-d17adeb25e11" providerId="ADAL" clId="{8E769656-82DF-4740-BA14-9D4801EE0342}" dt="2023-12-11T13:42:55.858" v="9010" actId="478"/>
          <ac:cxnSpMkLst>
            <pc:docMk/>
            <pc:sldMk cId="595425293" sldId="320"/>
            <ac:cxnSpMk id="16" creationId="{FC10E101-1A14-C12F-5620-4BA2264D6F4D}"/>
          </ac:cxnSpMkLst>
        </pc:cxnChg>
        <pc:cxnChg chg="add del mod">
          <ac:chgData name="Pierre CHAVANNE" userId="2e2e2412-eb49-4787-bd3d-d17adeb25e11" providerId="ADAL" clId="{8E769656-82DF-4740-BA14-9D4801EE0342}" dt="2023-12-11T14:13:16.938" v="9555" actId="478"/>
          <ac:cxnSpMkLst>
            <pc:docMk/>
            <pc:sldMk cId="595425293" sldId="320"/>
            <ac:cxnSpMk id="19" creationId="{7F222AF8-B63D-C861-99C0-A700C8D6FAA7}"/>
          </ac:cxnSpMkLst>
        </pc:cxnChg>
        <pc:cxnChg chg="add del mod">
          <ac:chgData name="Pierre CHAVANNE" userId="2e2e2412-eb49-4787-bd3d-d17adeb25e11" providerId="ADAL" clId="{8E769656-82DF-4740-BA14-9D4801EE0342}" dt="2023-12-11T14:13:16.267" v="9554" actId="478"/>
          <ac:cxnSpMkLst>
            <pc:docMk/>
            <pc:sldMk cId="595425293" sldId="320"/>
            <ac:cxnSpMk id="20" creationId="{0143107C-34AE-C890-6F56-B62592A5C57C}"/>
          </ac:cxnSpMkLst>
        </pc:cxnChg>
        <pc:cxnChg chg="add del mod">
          <ac:chgData name="Pierre CHAVANNE" userId="2e2e2412-eb49-4787-bd3d-d17adeb25e11" providerId="ADAL" clId="{8E769656-82DF-4740-BA14-9D4801EE0342}" dt="2023-12-11T14:49:30.012" v="10484" actId="478"/>
          <ac:cxnSpMkLst>
            <pc:docMk/>
            <pc:sldMk cId="595425293" sldId="320"/>
            <ac:cxnSpMk id="21" creationId="{2DE72C34-E6AE-6623-776C-C2D766F58C5D}"/>
          </ac:cxnSpMkLst>
        </pc:cxnChg>
      </pc:sldChg>
      <pc:sldChg chg="addSp delSp modSp add mod">
        <pc:chgData name="Pierre CHAVANNE" userId="2e2e2412-eb49-4787-bd3d-d17adeb25e11" providerId="ADAL" clId="{8E769656-82DF-4740-BA14-9D4801EE0342}" dt="2023-12-11T14:49:38.568" v="10506" actId="478"/>
        <pc:sldMkLst>
          <pc:docMk/>
          <pc:sldMk cId="304592153" sldId="321"/>
        </pc:sldMkLst>
        <pc:spChg chg="mod">
          <ac:chgData name="Pierre CHAVANNE" userId="2e2e2412-eb49-4787-bd3d-d17adeb25e11" providerId="ADAL" clId="{8E769656-82DF-4740-BA14-9D4801EE0342}" dt="2023-12-11T13:15:41.842" v="8013" actId="20577"/>
          <ac:spMkLst>
            <pc:docMk/>
            <pc:sldMk cId="304592153" sldId="321"/>
            <ac:spMk id="7" creationId="{6AD4CBD7-D9A7-169D-4153-387F366F0D29}"/>
          </ac:spMkLst>
        </pc:spChg>
        <pc:spChg chg="mod">
          <ac:chgData name="Pierre CHAVANNE" userId="2e2e2412-eb49-4787-bd3d-d17adeb25e11" providerId="ADAL" clId="{8E769656-82DF-4740-BA14-9D4801EE0342}" dt="2023-12-11T13:19:29.830" v="8331" actId="20577"/>
          <ac:spMkLst>
            <pc:docMk/>
            <pc:sldMk cId="304592153" sldId="321"/>
            <ac:spMk id="10" creationId="{18B9EFBA-7F92-0321-957B-DC732358BF5F}"/>
          </ac:spMkLst>
        </pc:spChg>
        <pc:picChg chg="add mod">
          <ac:chgData name="Pierre CHAVANNE" userId="2e2e2412-eb49-4787-bd3d-d17adeb25e11" providerId="ADAL" clId="{8E769656-82DF-4740-BA14-9D4801EE0342}" dt="2023-12-11T14:12:58.512" v="9549" actId="1038"/>
          <ac:picMkLst>
            <pc:docMk/>
            <pc:sldMk cId="304592153" sldId="321"/>
            <ac:picMk id="3" creationId="{1B8F65D6-0752-5374-500F-313376E49C36}"/>
          </ac:picMkLst>
        </pc:picChg>
        <pc:picChg chg="add del mod">
          <ac:chgData name="Pierre CHAVANNE" userId="2e2e2412-eb49-4787-bd3d-d17adeb25e11" providerId="ADAL" clId="{8E769656-82DF-4740-BA14-9D4801EE0342}" dt="2023-12-11T13:59:46.572" v="9365" actId="478"/>
          <ac:picMkLst>
            <pc:docMk/>
            <pc:sldMk cId="304592153" sldId="321"/>
            <ac:picMk id="5" creationId="{1990583C-2D3F-7177-4AEE-EF71E27F6D8B}"/>
          </ac:picMkLst>
        </pc:picChg>
        <pc:picChg chg="del">
          <ac:chgData name="Pierre CHAVANNE" userId="2e2e2412-eb49-4787-bd3d-d17adeb25e11" providerId="ADAL" clId="{8E769656-82DF-4740-BA14-9D4801EE0342}" dt="2023-12-11T13:14:27.810" v="7956" actId="478"/>
          <ac:picMkLst>
            <pc:docMk/>
            <pc:sldMk cId="304592153" sldId="321"/>
            <ac:picMk id="8" creationId="{0B0EF97D-3B1E-30BB-F474-E92FE16B7188}"/>
          </ac:picMkLst>
        </pc:picChg>
        <pc:picChg chg="del">
          <ac:chgData name="Pierre CHAVANNE" userId="2e2e2412-eb49-4787-bd3d-d17adeb25e11" providerId="ADAL" clId="{8E769656-82DF-4740-BA14-9D4801EE0342}" dt="2023-12-11T13:14:28.189" v="7957" actId="478"/>
          <ac:picMkLst>
            <pc:docMk/>
            <pc:sldMk cId="304592153" sldId="321"/>
            <ac:picMk id="12" creationId="{00FADC39-6140-B053-157A-6488A6B38ACE}"/>
          </ac:picMkLst>
        </pc:picChg>
        <pc:picChg chg="del">
          <ac:chgData name="Pierre CHAVANNE" userId="2e2e2412-eb49-4787-bd3d-d17adeb25e11" providerId="ADAL" clId="{8E769656-82DF-4740-BA14-9D4801EE0342}" dt="2023-12-11T13:09:46.184" v="7950" actId="478"/>
          <ac:picMkLst>
            <pc:docMk/>
            <pc:sldMk cId="304592153" sldId="321"/>
            <ac:picMk id="14" creationId="{D083DF6C-C39B-F1FC-A84B-0E3E4CA6EDB7}"/>
          </ac:picMkLst>
        </pc:picChg>
        <pc:picChg chg="add mod modCrop">
          <ac:chgData name="Pierre CHAVANNE" userId="2e2e2412-eb49-4787-bd3d-d17adeb25e11" providerId="ADAL" clId="{8E769656-82DF-4740-BA14-9D4801EE0342}" dt="2023-12-11T14:49:35.840" v="10505" actId="1036"/>
          <ac:picMkLst>
            <pc:docMk/>
            <pc:sldMk cId="304592153" sldId="321"/>
            <ac:picMk id="15" creationId="{EDEC33E9-EA1A-A504-03ED-45381AF6C460}"/>
          </ac:picMkLst>
        </pc:picChg>
        <pc:picChg chg="add mod">
          <ac:chgData name="Pierre CHAVANNE" userId="2e2e2412-eb49-4787-bd3d-d17adeb25e11" providerId="ADAL" clId="{8E769656-82DF-4740-BA14-9D4801EE0342}" dt="2023-12-11T14:49:33.363" v="10491" actId="1035"/>
          <ac:picMkLst>
            <pc:docMk/>
            <pc:sldMk cId="304592153" sldId="321"/>
            <ac:picMk id="1026" creationId="{D3FA8822-7191-E03C-91E5-8AC91E125462}"/>
          </ac:picMkLst>
        </pc:picChg>
        <pc:cxnChg chg="add del mod">
          <ac:chgData name="Pierre CHAVANNE" userId="2e2e2412-eb49-4787-bd3d-d17adeb25e11" providerId="ADAL" clId="{8E769656-82DF-4740-BA14-9D4801EE0342}" dt="2023-12-11T13:43:12.285" v="9018" actId="478"/>
          <ac:cxnSpMkLst>
            <pc:docMk/>
            <pc:sldMk cId="304592153" sldId="321"/>
            <ac:cxnSpMk id="9" creationId="{1AFCD8C7-02BD-2D4D-E6AE-A826B16B7046}"/>
          </ac:cxnSpMkLst>
        </pc:cxnChg>
        <pc:cxnChg chg="add del mod">
          <ac:chgData name="Pierre CHAVANNE" userId="2e2e2412-eb49-4787-bd3d-d17adeb25e11" providerId="ADAL" clId="{8E769656-82DF-4740-BA14-9D4801EE0342}" dt="2023-12-11T13:43:12.285" v="9018" actId="478"/>
          <ac:cxnSpMkLst>
            <pc:docMk/>
            <pc:sldMk cId="304592153" sldId="321"/>
            <ac:cxnSpMk id="11" creationId="{1124109C-1453-DB15-2851-E5A148558A2F}"/>
          </ac:cxnSpMkLst>
        </pc:cxnChg>
        <pc:cxnChg chg="add del mod">
          <ac:chgData name="Pierre CHAVANNE" userId="2e2e2412-eb49-4787-bd3d-d17adeb25e11" providerId="ADAL" clId="{8E769656-82DF-4740-BA14-9D4801EE0342}" dt="2023-12-11T14:13:18.490" v="9556" actId="478"/>
          <ac:cxnSpMkLst>
            <pc:docMk/>
            <pc:sldMk cId="304592153" sldId="321"/>
            <ac:cxnSpMk id="16" creationId="{EB1E1D69-163F-12B8-B629-B5BB0A22A4D2}"/>
          </ac:cxnSpMkLst>
        </pc:cxnChg>
        <pc:cxnChg chg="add del mod">
          <ac:chgData name="Pierre CHAVANNE" userId="2e2e2412-eb49-4787-bd3d-d17adeb25e11" providerId="ADAL" clId="{8E769656-82DF-4740-BA14-9D4801EE0342}" dt="2023-12-11T14:13:19.110" v="9557" actId="478"/>
          <ac:cxnSpMkLst>
            <pc:docMk/>
            <pc:sldMk cId="304592153" sldId="321"/>
            <ac:cxnSpMk id="17" creationId="{1BBE83E3-608F-E630-FD35-F67833891855}"/>
          </ac:cxnSpMkLst>
        </pc:cxnChg>
        <pc:cxnChg chg="add del mod">
          <ac:chgData name="Pierre CHAVANNE" userId="2e2e2412-eb49-4787-bd3d-d17adeb25e11" providerId="ADAL" clId="{8E769656-82DF-4740-BA14-9D4801EE0342}" dt="2023-12-11T14:49:38.568" v="10506" actId="478"/>
          <ac:cxnSpMkLst>
            <pc:docMk/>
            <pc:sldMk cId="304592153" sldId="321"/>
            <ac:cxnSpMk id="18" creationId="{172A9571-EE23-7750-1F7B-65F9F918E248}"/>
          </ac:cxnSpMkLst>
        </pc:cxnChg>
      </pc:sldChg>
      <pc:sldChg chg="addSp delSp modSp add mod">
        <pc:chgData name="Pierre CHAVANNE" userId="2e2e2412-eb49-4787-bd3d-d17adeb25e11" providerId="ADAL" clId="{8E769656-82DF-4740-BA14-9D4801EE0342}" dt="2023-12-11T14:49:49.356" v="10529" actId="478"/>
        <pc:sldMkLst>
          <pc:docMk/>
          <pc:sldMk cId="219234302" sldId="322"/>
        </pc:sldMkLst>
        <pc:spChg chg="mod">
          <ac:chgData name="Pierre CHAVANNE" userId="2e2e2412-eb49-4787-bd3d-d17adeb25e11" providerId="ADAL" clId="{8E769656-82DF-4740-BA14-9D4801EE0342}" dt="2023-12-11T13:18:28.206" v="8282" actId="6549"/>
          <ac:spMkLst>
            <pc:docMk/>
            <pc:sldMk cId="219234302" sldId="322"/>
            <ac:spMk id="7" creationId="{6AD4CBD7-D9A7-169D-4153-387F366F0D29}"/>
          </ac:spMkLst>
        </pc:spChg>
        <pc:spChg chg="mod">
          <ac:chgData name="Pierre CHAVANNE" userId="2e2e2412-eb49-4787-bd3d-d17adeb25e11" providerId="ADAL" clId="{8E769656-82DF-4740-BA14-9D4801EE0342}" dt="2023-12-11T13:21:08.752" v="8434" actId="20577"/>
          <ac:spMkLst>
            <pc:docMk/>
            <pc:sldMk cId="219234302" sldId="322"/>
            <ac:spMk id="10" creationId="{18B9EFBA-7F92-0321-957B-DC732358BF5F}"/>
          </ac:spMkLst>
        </pc:spChg>
        <pc:picChg chg="del">
          <ac:chgData name="Pierre CHAVANNE" userId="2e2e2412-eb49-4787-bd3d-d17adeb25e11" providerId="ADAL" clId="{8E769656-82DF-4740-BA14-9D4801EE0342}" dt="2023-12-11T13:18:13.547" v="8252" actId="478"/>
          <ac:picMkLst>
            <pc:docMk/>
            <pc:sldMk cId="219234302" sldId="322"/>
            <ac:picMk id="3" creationId="{1B8F65D6-0752-5374-500F-313376E49C36}"/>
          </ac:picMkLst>
        </pc:picChg>
        <pc:picChg chg="add mod">
          <ac:chgData name="Pierre CHAVANNE" userId="2e2e2412-eb49-4787-bd3d-d17adeb25e11" providerId="ADAL" clId="{8E769656-82DF-4740-BA14-9D4801EE0342}" dt="2023-12-11T14:12:46.017" v="9542" actId="1037"/>
          <ac:picMkLst>
            <pc:docMk/>
            <pc:sldMk cId="219234302" sldId="322"/>
            <ac:picMk id="4" creationId="{6B62D3AD-8C0E-3292-27E8-9456E0AEEDD3}"/>
          </ac:picMkLst>
        </pc:picChg>
        <pc:picChg chg="del">
          <ac:chgData name="Pierre CHAVANNE" userId="2e2e2412-eb49-4787-bd3d-d17adeb25e11" providerId="ADAL" clId="{8E769656-82DF-4740-BA14-9D4801EE0342}" dt="2023-12-11T13:18:12.246" v="8251" actId="478"/>
          <ac:picMkLst>
            <pc:docMk/>
            <pc:sldMk cId="219234302" sldId="322"/>
            <ac:picMk id="5" creationId="{1990583C-2D3F-7177-4AEE-EF71E27F6D8B}"/>
          </ac:picMkLst>
        </pc:picChg>
        <pc:picChg chg="add del mod">
          <ac:chgData name="Pierre CHAVANNE" userId="2e2e2412-eb49-4787-bd3d-d17adeb25e11" providerId="ADAL" clId="{8E769656-82DF-4740-BA14-9D4801EE0342}" dt="2023-12-11T14:02:53.656" v="9400" actId="478"/>
          <ac:picMkLst>
            <pc:docMk/>
            <pc:sldMk cId="219234302" sldId="322"/>
            <ac:picMk id="9" creationId="{C1846B49-DB5B-4C2F-10BC-FB611F164486}"/>
          </ac:picMkLst>
        </pc:picChg>
        <pc:picChg chg="add mod">
          <ac:chgData name="Pierre CHAVANNE" userId="2e2e2412-eb49-4787-bd3d-d17adeb25e11" providerId="ADAL" clId="{8E769656-82DF-4740-BA14-9D4801EE0342}" dt="2023-12-11T14:49:46.127" v="10528" actId="1036"/>
          <ac:picMkLst>
            <pc:docMk/>
            <pc:sldMk cId="219234302" sldId="322"/>
            <ac:picMk id="14" creationId="{5D3598EF-4492-36F9-18FA-4C12D0C1B831}"/>
          </ac:picMkLst>
        </pc:picChg>
        <pc:picChg chg="del">
          <ac:chgData name="Pierre CHAVANNE" userId="2e2e2412-eb49-4787-bd3d-d17adeb25e11" providerId="ADAL" clId="{8E769656-82DF-4740-BA14-9D4801EE0342}" dt="2023-12-11T13:18:11.812" v="8250" actId="478"/>
          <ac:picMkLst>
            <pc:docMk/>
            <pc:sldMk cId="219234302" sldId="322"/>
            <ac:picMk id="1026" creationId="{D3FA8822-7191-E03C-91E5-8AC91E125462}"/>
          </ac:picMkLst>
        </pc:picChg>
        <pc:picChg chg="add mod">
          <ac:chgData name="Pierre CHAVANNE" userId="2e2e2412-eb49-4787-bd3d-d17adeb25e11" providerId="ADAL" clId="{8E769656-82DF-4740-BA14-9D4801EE0342}" dt="2023-12-11T14:49:42.499" v="10511" actId="1036"/>
          <ac:picMkLst>
            <pc:docMk/>
            <pc:sldMk cId="219234302" sldId="322"/>
            <ac:picMk id="2050" creationId="{7042412F-3F27-9613-B324-4D50E6A5654E}"/>
          </ac:picMkLst>
        </pc:picChg>
        <pc:cxnChg chg="add del mod">
          <ac:chgData name="Pierre CHAVANNE" userId="2e2e2412-eb49-4787-bd3d-d17adeb25e11" providerId="ADAL" clId="{8E769656-82DF-4740-BA14-9D4801EE0342}" dt="2023-12-11T13:43:28.787" v="9023" actId="478"/>
          <ac:cxnSpMkLst>
            <pc:docMk/>
            <pc:sldMk cId="219234302" sldId="322"/>
            <ac:cxnSpMk id="11" creationId="{94E5853D-A101-5BEB-FC9C-986C89AF595E}"/>
          </ac:cxnSpMkLst>
        </pc:cxnChg>
        <pc:cxnChg chg="add del mod">
          <ac:chgData name="Pierre CHAVANNE" userId="2e2e2412-eb49-4787-bd3d-d17adeb25e11" providerId="ADAL" clId="{8E769656-82DF-4740-BA14-9D4801EE0342}" dt="2023-12-11T13:43:28.787" v="9023" actId="478"/>
          <ac:cxnSpMkLst>
            <pc:docMk/>
            <pc:sldMk cId="219234302" sldId="322"/>
            <ac:cxnSpMk id="12" creationId="{4CAAC42A-A96B-7495-50E9-98B28EF259E9}"/>
          </ac:cxnSpMkLst>
        </pc:cxnChg>
        <pc:cxnChg chg="add del mod">
          <ac:chgData name="Pierre CHAVANNE" userId="2e2e2412-eb49-4787-bd3d-d17adeb25e11" providerId="ADAL" clId="{8E769656-82DF-4740-BA14-9D4801EE0342}" dt="2023-12-11T14:13:20.414" v="9558" actId="478"/>
          <ac:cxnSpMkLst>
            <pc:docMk/>
            <pc:sldMk cId="219234302" sldId="322"/>
            <ac:cxnSpMk id="15" creationId="{6D134BF0-1AF1-6E76-80D7-99075D59EF19}"/>
          </ac:cxnSpMkLst>
        </pc:cxnChg>
        <pc:cxnChg chg="add del mod">
          <ac:chgData name="Pierre CHAVANNE" userId="2e2e2412-eb49-4787-bd3d-d17adeb25e11" providerId="ADAL" clId="{8E769656-82DF-4740-BA14-9D4801EE0342}" dt="2023-12-11T14:13:21.294" v="9559" actId="478"/>
          <ac:cxnSpMkLst>
            <pc:docMk/>
            <pc:sldMk cId="219234302" sldId="322"/>
            <ac:cxnSpMk id="16" creationId="{036BB01D-24DB-7E78-144B-B5E73B7B376C}"/>
          </ac:cxnSpMkLst>
        </pc:cxnChg>
        <pc:cxnChg chg="add del mod">
          <ac:chgData name="Pierre CHAVANNE" userId="2e2e2412-eb49-4787-bd3d-d17adeb25e11" providerId="ADAL" clId="{8E769656-82DF-4740-BA14-9D4801EE0342}" dt="2023-12-11T14:49:49.356" v="10529" actId="478"/>
          <ac:cxnSpMkLst>
            <pc:docMk/>
            <pc:sldMk cId="219234302" sldId="322"/>
            <ac:cxnSpMk id="17" creationId="{9C1B19AB-D8A6-8A39-F7E5-804AE6D4C03F}"/>
          </ac:cxnSpMkLst>
        </pc:cxnChg>
      </pc:sldChg>
      <pc:sldChg chg="addSp delSp modSp add mod">
        <pc:chgData name="Pierre CHAVANNE" userId="2e2e2412-eb49-4787-bd3d-d17adeb25e11" providerId="ADAL" clId="{8E769656-82DF-4740-BA14-9D4801EE0342}" dt="2023-12-11T14:50:05.610" v="10567" actId="478"/>
        <pc:sldMkLst>
          <pc:docMk/>
          <pc:sldMk cId="2955322825" sldId="323"/>
        </pc:sldMkLst>
        <pc:spChg chg="mod">
          <ac:chgData name="Pierre CHAVANNE" userId="2e2e2412-eb49-4787-bd3d-d17adeb25e11" providerId="ADAL" clId="{8E769656-82DF-4740-BA14-9D4801EE0342}" dt="2023-12-11T13:27:03.198" v="8735" actId="20577"/>
          <ac:spMkLst>
            <pc:docMk/>
            <pc:sldMk cId="2955322825" sldId="323"/>
            <ac:spMk id="7" creationId="{6AD4CBD7-D9A7-169D-4153-387F366F0D29}"/>
          </ac:spMkLst>
        </pc:spChg>
        <pc:spChg chg="mod">
          <ac:chgData name="Pierre CHAVANNE" userId="2e2e2412-eb49-4787-bd3d-d17adeb25e11" providerId="ADAL" clId="{8E769656-82DF-4740-BA14-9D4801EE0342}" dt="2023-12-11T13:29:06.592" v="8853" actId="20577"/>
          <ac:spMkLst>
            <pc:docMk/>
            <pc:sldMk cId="2955322825" sldId="323"/>
            <ac:spMk id="14" creationId="{244A11D9-903C-063B-57C5-F8DBD33A487B}"/>
          </ac:spMkLst>
        </pc:spChg>
        <pc:picChg chg="del">
          <ac:chgData name="Pierre CHAVANNE" userId="2e2e2412-eb49-4787-bd3d-d17adeb25e11" providerId="ADAL" clId="{8E769656-82DF-4740-BA14-9D4801EE0342}" dt="2023-12-11T13:29:18.720" v="8854" actId="478"/>
          <ac:picMkLst>
            <pc:docMk/>
            <pc:sldMk cId="2955322825" sldId="323"/>
            <ac:picMk id="3" creationId="{115FE826-D431-B526-7FB9-25C8F9B80A93}"/>
          </ac:picMkLst>
        </pc:picChg>
        <pc:picChg chg="add del mod">
          <ac:chgData name="Pierre CHAVANNE" userId="2e2e2412-eb49-4787-bd3d-d17adeb25e11" providerId="ADAL" clId="{8E769656-82DF-4740-BA14-9D4801EE0342}" dt="2023-12-11T14:09:57.824" v="9465" actId="478"/>
          <ac:picMkLst>
            <pc:docMk/>
            <pc:sldMk cId="2955322825" sldId="323"/>
            <ac:picMk id="5" creationId="{CF06AE58-7BDB-04F6-85F0-AD7EE867AE16}"/>
          </ac:picMkLst>
        </pc:picChg>
        <pc:picChg chg="add mod modCrop">
          <ac:chgData name="Pierre CHAVANNE" userId="2e2e2412-eb49-4787-bd3d-d17adeb25e11" providerId="ADAL" clId="{8E769656-82DF-4740-BA14-9D4801EE0342}" dt="2023-12-11T14:13:39.195" v="9560" actId="1076"/>
          <ac:picMkLst>
            <pc:docMk/>
            <pc:sldMk cId="2955322825" sldId="323"/>
            <ac:picMk id="9" creationId="{9FA7E6B1-C8FE-A349-13AA-E9E3BD0A75E4}"/>
          </ac:picMkLst>
        </pc:picChg>
        <pc:picChg chg="add mod">
          <ac:chgData name="Pierre CHAVANNE" userId="2e2e2412-eb49-4787-bd3d-d17adeb25e11" providerId="ADAL" clId="{8E769656-82DF-4740-BA14-9D4801EE0342}" dt="2023-12-11T14:50:02.562" v="10566" actId="1036"/>
          <ac:picMkLst>
            <pc:docMk/>
            <pc:sldMk cId="2955322825" sldId="323"/>
            <ac:picMk id="13" creationId="{CA572920-80AF-B899-1A38-D588E6A910CE}"/>
          </ac:picMkLst>
        </pc:picChg>
        <pc:picChg chg="del">
          <ac:chgData name="Pierre CHAVANNE" userId="2e2e2412-eb49-4787-bd3d-d17adeb25e11" providerId="ADAL" clId="{8E769656-82DF-4740-BA14-9D4801EE0342}" dt="2023-12-11T13:27:08.777" v="8737" actId="478"/>
          <ac:picMkLst>
            <pc:docMk/>
            <pc:sldMk cId="2955322825" sldId="323"/>
            <ac:picMk id="16" creationId="{40BFAEAC-0EE2-B8FF-03E4-F99F7E2FCF67}"/>
          </ac:picMkLst>
        </pc:picChg>
        <pc:picChg chg="del">
          <ac:chgData name="Pierre CHAVANNE" userId="2e2e2412-eb49-4787-bd3d-d17adeb25e11" providerId="ADAL" clId="{8E769656-82DF-4740-BA14-9D4801EE0342}" dt="2023-12-11T13:27:08.415" v="8736" actId="478"/>
          <ac:picMkLst>
            <pc:docMk/>
            <pc:sldMk cId="2955322825" sldId="323"/>
            <ac:picMk id="3074" creationId="{0E49D444-10C0-572B-FCCA-2680B1B8C583}"/>
          </ac:picMkLst>
        </pc:picChg>
        <pc:picChg chg="add mod">
          <ac:chgData name="Pierre CHAVANNE" userId="2e2e2412-eb49-4787-bd3d-d17adeb25e11" providerId="ADAL" clId="{8E769656-82DF-4740-BA14-9D4801EE0342}" dt="2023-12-11T14:49:59.866" v="10552" actId="1035"/>
          <ac:picMkLst>
            <pc:docMk/>
            <pc:sldMk cId="2955322825" sldId="323"/>
            <ac:picMk id="4098" creationId="{7A66E031-7D5B-D473-0EF5-283D60DDCF08}"/>
          </ac:picMkLst>
        </pc:picChg>
        <pc:cxnChg chg="add del mod">
          <ac:chgData name="Pierre CHAVANNE" userId="2e2e2412-eb49-4787-bd3d-d17adeb25e11" providerId="ADAL" clId="{8E769656-82DF-4740-BA14-9D4801EE0342}" dt="2023-12-11T13:43:59.695" v="9031" actId="478"/>
          <ac:cxnSpMkLst>
            <pc:docMk/>
            <pc:sldMk cId="2955322825" sldId="323"/>
            <ac:cxnSpMk id="10" creationId="{BF746124-F2D7-080A-C96D-BB96668AD606}"/>
          </ac:cxnSpMkLst>
        </pc:cxnChg>
        <pc:cxnChg chg="add del mod">
          <ac:chgData name="Pierre CHAVANNE" userId="2e2e2412-eb49-4787-bd3d-d17adeb25e11" providerId="ADAL" clId="{8E769656-82DF-4740-BA14-9D4801EE0342}" dt="2023-12-11T13:43:59.695" v="9031" actId="478"/>
          <ac:cxnSpMkLst>
            <pc:docMk/>
            <pc:sldMk cId="2955322825" sldId="323"/>
            <ac:cxnSpMk id="11" creationId="{7FDD40A6-ADDD-BFE3-B162-72A0A2BAA592}"/>
          </ac:cxnSpMkLst>
        </pc:cxnChg>
        <pc:cxnChg chg="add del mod">
          <ac:chgData name="Pierre CHAVANNE" userId="2e2e2412-eb49-4787-bd3d-d17adeb25e11" providerId="ADAL" clId="{8E769656-82DF-4740-BA14-9D4801EE0342}" dt="2023-12-11T14:50:05.610" v="10567" actId="478"/>
          <ac:cxnSpMkLst>
            <pc:docMk/>
            <pc:sldMk cId="2955322825" sldId="323"/>
            <ac:cxnSpMk id="15" creationId="{84BB4299-D0D2-130E-F6EE-40E31D6A8F45}"/>
          </ac:cxnSpMkLst>
        </pc:cxnChg>
      </pc:sldChg>
      <pc:sldChg chg="addSp delSp modSp add mod">
        <pc:chgData name="Pierre CHAVANNE" userId="2e2e2412-eb49-4787-bd3d-d17adeb25e11" providerId="ADAL" clId="{8E769656-82DF-4740-BA14-9D4801EE0342}" dt="2023-12-11T14:50:11.702" v="10571" actId="478"/>
        <pc:sldMkLst>
          <pc:docMk/>
          <pc:sldMk cId="3873716323" sldId="324"/>
        </pc:sldMkLst>
        <pc:spChg chg="mod">
          <ac:chgData name="Pierre CHAVANNE" userId="2e2e2412-eb49-4787-bd3d-d17adeb25e11" providerId="ADAL" clId="{8E769656-82DF-4740-BA14-9D4801EE0342}" dt="2023-12-11T13:34:00.151" v="8895" actId="20577"/>
          <ac:spMkLst>
            <pc:docMk/>
            <pc:sldMk cId="3873716323" sldId="324"/>
            <ac:spMk id="7" creationId="{6AD4CBD7-D9A7-169D-4153-387F366F0D29}"/>
          </ac:spMkLst>
        </pc:spChg>
        <pc:spChg chg="mod">
          <ac:chgData name="Pierre CHAVANNE" userId="2e2e2412-eb49-4787-bd3d-d17adeb25e11" providerId="ADAL" clId="{8E769656-82DF-4740-BA14-9D4801EE0342}" dt="2023-12-11T14:11:26.168" v="9475" actId="1076"/>
          <ac:spMkLst>
            <pc:docMk/>
            <pc:sldMk cId="3873716323" sldId="324"/>
            <ac:spMk id="14" creationId="{244A11D9-903C-063B-57C5-F8DBD33A487B}"/>
          </ac:spMkLst>
        </pc:spChg>
        <pc:picChg chg="add mod modCrop">
          <ac:chgData name="Pierre CHAVANNE" userId="2e2e2412-eb49-4787-bd3d-d17adeb25e11" providerId="ADAL" clId="{8E769656-82DF-4740-BA14-9D4801EE0342}" dt="2023-12-11T14:13:44.595" v="9561" actId="1076"/>
          <ac:picMkLst>
            <pc:docMk/>
            <pc:sldMk cId="3873716323" sldId="324"/>
            <ac:picMk id="4" creationId="{C5B160B6-5799-459A-C485-E8E1634B73FF}"/>
          </ac:picMkLst>
        </pc:picChg>
        <pc:picChg chg="del">
          <ac:chgData name="Pierre CHAVANNE" userId="2e2e2412-eb49-4787-bd3d-d17adeb25e11" providerId="ADAL" clId="{8E769656-82DF-4740-BA14-9D4801EE0342}" dt="2023-12-11T13:34:20.737" v="8923" actId="478"/>
          <ac:picMkLst>
            <pc:docMk/>
            <pc:sldMk cId="3873716323" sldId="324"/>
            <ac:picMk id="5" creationId="{CF06AE58-7BDB-04F6-85F0-AD7EE867AE16}"/>
          </ac:picMkLst>
        </pc:picChg>
        <pc:picChg chg="del">
          <ac:chgData name="Pierre CHAVANNE" userId="2e2e2412-eb49-4787-bd3d-d17adeb25e11" providerId="ADAL" clId="{8E769656-82DF-4740-BA14-9D4801EE0342}" dt="2023-12-11T13:33:10.504" v="8871" actId="478"/>
          <ac:picMkLst>
            <pc:docMk/>
            <pc:sldMk cId="3873716323" sldId="324"/>
            <ac:picMk id="9" creationId="{9FA7E6B1-C8FE-A349-13AA-E9E3BD0A75E4}"/>
          </ac:picMkLst>
        </pc:picChg>
        <pc:picChg chg="add del mod">
          <ac:chgData name="Pierre CHAVANNE" userId="2e2e2412-eb49-4787-bd3d-d17adeb25e11" providerId="ADAL" clId="{8E769656-82DF-4740-BA14-9D4801EE0342}" dt="2023-12-11T14:10:26.097" v="9470" actId="478"/>
          <ac:picMkLst>
            <pc:docMk/>
            <pc:sldMk cId="3873716323" sldId="324"/>
            <ac:picMk id="10" creationId="{DCB2C83C-513C-23F5-AA9C-F818DA925332}"/>
          </ac:picMkLst>
        </pc:picChg>
        <pc:picChg chg="add mod">
          <ac:chgData name="Pierre CHAVANNE" userId="2e2e2412-eb49-4787-bd3d-d17adeb25e11" providerId="ADAL" clId="{8E769656-82DF-4740-BA14-9D4801EE0342}" dt="2023-12-11T14:50:09.317" v="10570" actId="1036"/>
          <ac:picMkLst>
            <pc:docMk/>
            <pc:sldMk cId="3873716323" sldId="324"/>
            <ac:picMk id="15" creationId="{992DF3F5-43D4-5C5F-67BA-17710507968F}"/>
          </ac:picMkLst>
        </pc:picChg>
        <pc:picChg chg="del">
          <ac:chgData name="Pierre CHAVANNE" userId="2e2e2412-eb49-4787-bd3d-d17adeb25e11" providerId="ADAL" clId="{8E769656-82DF-4740-BA14-9D4801EE0342}" dt="2023-12-11T13:34:20.427" v="8922" actId="478"/>
          <ac:picMkLst>
            <pc:docMk/>
            <pc:sldMk cId="3873716323" sldId="324"/>
            <ac:picMk id="4098" creationId="{7A66E031-7D5B-D473-0EF5-283D60DDCF08}"/>
          </ac:picMkLst>
        </pc:picChg>
        <pc:picChg chg="add mod">
          <ac:chgData name="Pierre CHAVANNE" userId="2e2e2412-eb49-4787-bd3d-d17adeb25e11" providerId="ADAL" clId="{8E769656-82DF-4740-BA14-9D4801EE0342}" dt="2023-12-11T14:11:18.576" v="9474" actId="1076"/>
          <ac:picMkLst>
            <pc:docMk/>
            <pc:sldMk cId="3873716323" sldId="324"/>
            <ac:picMk id="5122" creationId="{A4A098EA-ACDD-EE1F-9DB4-A7070D6B4151}"/>
          </ac:picMkLst>
        </pc:picChg>
        <pc:cxnChg chg="add del mod">
          <ac:chgData name="Pierre CHAVANNE" userId="2e2e2412-eb49-4787-bd3d-d17adeb25e11" providerId="ADAL" clId="{8E769656-82DF-4740-BA14-9D4801EE0342}" dt="2023-12-11T13:44:15.055" v="9037" actId="478"/>
          <ac:cxnSpMkLst>
            <pc:docMk/>
            <pc:sldMk cId="3873716323" sldId="324"/>
            <ac:cxnSpMk id="11" creationId="{A847A887-2618-D7C7-75D9-6CBA0D8F92E7}"/>
          </ac:cxnSpMkLst>
        </pc:cxnChg>
        <pc:cxnChg chg="add del mod">
          <ac:chgData name="Pierre CHAVANNE" userId="2e2e2412-eb49-4787-bd3d-d17adeb25e11" providerId="ADAL" clId="{8E769656-82DF-4740-BA14-9D4801EE0342}" dt="2023-12-11T13:44:15.055" v="9037" actId="478"/>
          <ac:cxnSpMkLst>
            <pc:docMk/>
            <pc:sldMk cId="3873716323" sldId="324"/>
            <ac:cxnSpMk id="12" creationId="{B277477C-7F36-CC6A-D1CF-42850DDE3759}"/>
          </ac:cxnSpMkLst>
        </pc:cxnChg>
        <pc:cxnChg chg="add del mod">
          <ac:chgData name="Pierre CHAVANNE" userId="2e2e2412-eb49-4787-bd3d-d17adeb25e11" providerId="ADAL" clId="{8E769656-82DF-4740-BA14-9D4801EE0342}" dt="2023-12-11T14:48:55.123" v="10412" actId="478"/>
          <ac:cxnSpMkLst>
            <pc:docMk/>
            <pc:sldMk cId="3873716323" sldId="324"/>
            <ac:cxnSpMk id="17" creationId="{FBBD5341-00ED-A3EE-023D-A5F9866DC6D3}"/>
          </ac:cxnSpMkLst>
        </pc:cxnChg>
        <pc:cxnChg chg="add del mod">
          <ac:chgData name="Pierre CHAVANNE" userId="2e2e2412-eb49-4787-bd3d-d17adeb25e11" providerId="ADAL" clId="{8E769656-82DF-4740-BA14-9D4801EE0342}" dt="2023-12-11T14:50:11.702" v="10571" actId="478"/>
          <ac:cxnSpMkLst>
            <pc:docMk/>
            <pc:sldMk cId="3873716323" sldId="324"/>
            <ac:cxnSpMk id="20" creationId="{67CA9E59-53E7-0DF5-F39D-2F79A48ADFED}"/>
          </ac:cxnSpMkLst>
        </pc:cxnChg>
      </pc:sldChg>
      <pc:sldChg chg="addSp delSp modSp add mod">
        <pc:chgData name="Pierre CHAVANNE" userId="2e2e2412-eb49-4787-bd3d-d17adeb25e11" providerId="ADAL" clId="{8E769656-82DF-4740-BA14-9D4801EE0342}" dt="2023-12-11T14:49:10.644" v="10441" actId="478"/>
        <pc:sldMkLst>
          <pc:docMk/>
          <pc:sldMk cId="2450472586" sldId="325"/>
        </pc:sldMkLst>
        <pc:picChg chg="add del mod">
          <ac:chgData name="Pierre CHAVANNE" userId="2e2e2412-eb49-4787-bd3d-d17adeb25e11" providerId="ADAL" clId="{8E769656-82DF-4740-BA14-9D4801EE0342}" dt="2023-12-11T13:56:32.449" v="9347" actId="478"/>
          <ac:picMkLst>
            <pc:docMk/>
            <pc:sldMk cId="2450472586" sldId="325"/>
            <ac:picMk id="4" creationId="{CE834824-4F93-D0DA-C6B6-3781161D4F91}"/>
          </ac:picMkLst>
        </pc:picChg>
        <pc:picChg chg="add mod modCrop">
          <ac:chgData name="Pierre CHAVANNE" userId="2e2e2412-eb49-4787-bd3d-d17adeb25e11" providerId="ADAL" clId="{8E769656-82DF-4740-BA14-9D4801EE0342}" dt="2023-12-11T14:49:07.315" v="10440" actId="1035"/>
          <ac:picMkLst>
            <pc:docMk/>
            <pc:sldMk cId="2450472586" sldId="325"/>
            <ac:picMk id="8" creationId="{1EDB6D1B-5227-53F7-E457-44EBB3A7A974}"/>
          </ac:picMkLst>
        </pc:picChg>
        <pc:picChg chg="mod">
          <ac:chgData name="Pierre CHAVANNE" userId="2e2e2412-eb49-4787-bd3d-d17adeb25e11" providerId="ADAL" clId="{8E769656-82DF-4740-BA14-9D4801EE0342}" dt="2023-12-11T14:12:11.890" v="9484" actId="1076"/>
          <ac:picMkLst>
            <pc:docMk/>
            <pc:sldMk cId="2450472586" sldId="325"/>
            <ac:picMk id="12" creationId="{7F166E49-5E44-F0C3-B77D-C8572D9F996B}"/>
          </ac:picMkLst>
        </pc:picChg>
        <pc:picChg chg="mod">
          <ac:chgData name="Pierre CHAVANNE" userId="2e2e2412-eb49-4787-bd3d-d17adeb25e11" providerId="ADAL" clId="{8E769656-82DF-4740-BA14-9D4801EE0342}" dt="2023-12-11T14:49:03.097" v="10419" actId="1036"/>
          <ac:picMkLst>
            <pc:docMk/>
            <pc:sldMk cId="2450472586" sldId="325"/>
            <ac:picMk id="20" creationId="{17F72769-34E8-32BA-AADE-A7AE015C71F6}"/>
          </ac:picMkLst>
        </pc:picChg>
        <pc:picChg chg="del">
          <ac:chgData name="Pierre CHAVANNE" userId="2e2e2412-eb49-4787-bd3d-d17adeb25e11" providerId="ADAL" clId="{8E769656-82DF-4740-BA14-9D4801EE0342}" dt="2023-12-11T13:53:34.609" v="9340" actId="478"/>
          <ac:picMkLst>
            <pc:docMk/>
            <pc:sldMk cId="2450472586" sldId="325"/>
            <ac:picMk id="32" creationId="{5703B5C9-90D3-7DF5-05A6-3997ED5F26FE}"/>
          </ac:picMkLst>
        </pc:picChg>
        <pc:cxnChg chg="add del mod">
          <ac:chgData name="Pierre CHAVANNE" userId="2e2e2412-eb49-4787-bd3d-d17adeb25e11" providerId="ADAL" clId="{8E769656-82DF-4740-BA14-9D4801EE0342}" dt="2023-12-11T14:13:12.296" v="9551" actId="478"/>
          <ac:cxnSpMkLst>
            <pc:docMk/>
            <pc:sldMk cId="2450472586" sldId="325"/>
            <ac:cxnSpMk id="11" creationId="{310B6B49-CC79-FCAA-FDF5-04B64A958B26}"/>
          </ac:cxnSpMkLst>
        </pc:cxnChg>
        <pc:cxnChg chg="add del mod">
          <ac:chgData name="Pierre CHAVANNE" userId="2e2e2412-eb49-4787-bd3d-d17adeb25e11" providerId="ADAL" clId="{8E769656-82DF-4740-BA14-9D4801EE0342}" dt="2023-12-11T14:13:11.550" v="9550" actId="478"/>
          <ac:cxnSpMkLst>
            <pc:docMk/>
            <pc:sldMk cId="2450472586" sldId="325"/>
            <ac:cxnSpMk id="13" creationId="{B0F8C795-D8A0-A159-0B67-53FA0F7E4E29}"/>
          </ac:cxnSpMkLst>
        </pc:cxnChg>
        <pc:cxnChg chg="add del mod">
          <ac:chgData name="Pierre CHAVANNE" userId="2e2e2412-eb49-4787-bd3d-d17adeb25e11" providerId="ADAL" clId="{8E769656-82DF-4740-BA14-9D4801EE0342}" dt="2023-12-11T14:49:10.644" v="10441" actId="478"/>
          <ac:cxnSpMkLst>
            <pc:docMk/>
            <pc:sldMk cId="2450472586" sldId="325"/>
            <ac:cxnSpMk id="16" creationId="{6388748B-D2B5-34F9-79C0-D5D2DBA268C3}"/>
          </ac:cxnSpMkLst>
        </pc:cxnChg>
      </pc:sldChg>
      <pc:sldChg chg="addSp delSp modSp add mod">
        <pc:chgData name="Pierre CHAVANNE" userId="2e2e2412-eb49-4787-bd3d-d17adeb25e11" providerId="ADAL" clId="{8E769656-82DF-4740-BA14-9D4801EE0342}" dt="2023-12-11T14:32:55.191" v="10078" actId="20577"/>
        <pc:sldMkLst>
          <pc:docMk/>
          <pc:sldMk cId="2789460190" sldId="326"/>
        </pc:sldMkLst>
        <pc:spChg chg="mod">
          <ac:chgData name="Pierre CHAVANNE" userId="2e2e2412-eb49-4787-bd3d-d17adeb25e11" providerId="ADAL" clId="{8E769656-82DF-4740-BA14-9D4801EE0342}" dt="2023-12-11T14:32:40.182" v="10062" actId="20577"/>
          <ac:spMkLst>
            <pc:docMk/>
            <pc:sldMk cId="2789460190" sldId="326"/>
            <ac:spMk id="2" creationId="{E52B8373-62D1-544B-7A5C-41B622D6A38F}"/>
          </ac:spMkLst>
        </pc:spChg>
        <pc:spChg chg="mod">
          <ac:chgData name="Pierre CHAVANNE" userId="2e2e2412-eb49-4787-bd3d-d17adeb25e11" providerId="ADAL" clId="{8E769656-82DF-4740-BA14-9D4801EE0342}" dt="2023-12-11T14:23:57.131" v="9659" actId="14100"/>
          <ac:spMkLst>
            <pc:docMk/>
            <pc:sldMk cId="2789460190" sldId="326"/>
            <ac:spMk id="9" creationId="{2FA19DED-FC42-5C03-5A67-076E5E493EC6}"/>
          </ac:spMkLst>
        </pc:spChg>
        <pc:spChg chg="mod">
          <ac:chgData name="Pierre CHAVANNE" userId="2e2e2412-eb49-4787-bd3d-d17adeb25e11" providerId="ADAL" clId="{8E769656-82DF-4740-BA14-9D4801EE0342}" dt="2023-12-11T14:32:55.191" v="10078" actId="20577"/>
          <ac:spMkLst>
            <pc:docMk/>
            <pc:sldMk cId="2789460190" sldId="326"/>
            <ac:spMk id="10" creationId="{18B9EFBA-7F92-0321-957B-DC732358BF5F}"/>
          </ac:spMkLst>
        </pc:spChg>
        <pc:picChg chg="del">
          <ac:chgData name="Pierre CHAVANNE" userId="2e2e2412-eb49-4787-bd3d-d17adeb25e11" providerId="ADAL" clId="{8E769656-82DF-4740-BA14-9D4801EE0342}" dt="2023-12-11T14:15:25.628" v="9563" actId="478"/>
          <ac:picMkLst>
            <pc:docMk/>
            <pc:sldMk cId="2789460190" sldId="326"/>
            <ac:picMk id="14" creationId="{138E1A5E-0028-327D-37F4-751A057584F4}"/>
          </ac:picMkLst>
        </pc:picChg>
        <pc:picChg chg="add mod">
          <ac:chgData name="Pierre CHAVANNE" userId="2e2e2412-eb49-4787-bd3d-d17adeb25e11" providerId="ADAL" clId="{8E769656-82DF-4740-BA14-9D4801EE0342}" dt="2023-12-11T14:21:03.819" v="9569" actId="1076"/>
          <ac:picMkLst>
            <pc:docMk/>
            <pc:sldMk cId="2789460190" sldId="326"/>
            <ac:picMk id="6146" creationId="{2B717E00-1998-B281-A759-10557560963F}"/>
          </ac:picMkLst>
        </pc:picChg>
      </pc:sldChg>
      <pc:sldChg chg="addSp delSp modSp add mod">
        <pc:chgData name="Pierre CHAVANNE" userId="2e2e2412-eb49-4787-bd3d-d17adeb25e11" providerId="ADAL" clId="{8E769656-82DF-4740-BA14-9D4801EE0342}" dt="2023-12-11T14:23:51.696" v="9658" actId="1076"/>
        <pc:sldMkLst>
          <pc:docMk/>
          <pc:sldMk cId="651240368" sldId="327"/>
        </pc:sldMkLst>
        <pc:picChg chg="del">
          <ac:chgData name="Pierre CHAVANNE" userId="2e2e2412-eb49-4787-bd3d-d17adeb25e11" providerId="ADAL" clId="{8E769656-82DF-4740-BA14-9D4801EE0342}" dt="2023-12-11T14:23:42.822" v="9655" actId="478"/>
          <ac:picMkLst>
            <pc:docMk/>
            <pc:sldMk cId="651240368" sldId="327"/>
            <ac:picMk id="17" creationId="{494E7569-F3FE-A823-D35D-D0088F7F9B66}"/>
          </ac:picMkLst>
        </pc:picChg>
        <pc:picChg chg="add mod">
          <ac:chgData name="Pierre CHAVANNE" userId="2e2e2412-eb49-4787-bd3d-d17adeb25e11" providerId="ADAL" clId="{8E769656-82DF-4740-BA14-9D4801EE0342}" dt="2023-12-11T14:23:51.696" v="9658" actId="1076"/>
          <ac:picMkLst>
            <pc:docMk/>
            <pc:sldMk cId="651240368" sldId="327"/>
            <ac:picMk id="12290" creationId="{EC29CE1D-0408-7308-FDE1-724657B4CCE2}"/>
          </ac:picMkLst>
        </pc:picChg>
      </pc:sldChg>
      <pc:sldChg chg="addSp delSp modSp add mod">
        <pc:chgData name="Pierre CHAVANNE" userId="2e2e2412-eb49-4787-bd3d-d17adeb25e11" providerId="ADAL" clId="{8E769656-82DF-4740-BA14-9D4801EE0342}" dt="2023-12-11T14:33:02.483" v="10084" actId="20577"/>
        <pc:sldMkLst>
          <pc:docMk/>
          <pc:sldMk cId="4050209955" sldId="328"/>
        </pc:sldMkLst>
        <pc:spChg chg="mod">
          <ac:chgData name="Pierre CHAVANNE" userId="2e2e2412-eb49-4787-bd3d-d17adeb25e11" providerId="ADAL" clId="{8E769656-82DF-4740-BA14-9D4801EE0342}" dt="2023-12-11T14:33:02.483" v="10084" actId="20577"/>
          <ac:spMkLst>
            <pc:docMk/>
            <pc:sldMk cId="4050209955" sldId="328"/>
            <ac:spMk id="2" creationId="{E52B8373-62D1-544B-7A5C-41B622D6A38F}"/>
          </ac:spMkLst>
        </pc:spChg>
        <pc:picChg chg="del">
          <ac:chgData name="Pierre CHAVANNE" userId="2e2e2412-eb49-4787-bd3d-d17adeb25e11" providerId="ADAL" clId="{8E769656-82DF-4740-BA14-9D4801EE0342}" dt="2023-12-11T14:25:36.553" v="9943" actId="478"/>
          <ac:picMkLst>
            <pc:docMk/>
            <pc:sldMk cId="4050209955" sldId="328"/>
            <ac:picMk id="13" creationId="{63C19E91-09B4-A523-1D6E-B36372117003}"/>
          </ac:picMkLst>
        </pc:picChg>
        <pc:picChg chg="add mod">
          <ac:chgData name="Pierre CHAVANNE" userId="2e2e2412-eb49-4787-bd3d-d17adeb25e11" providerId="ADAL" clId="{8E769656-82DF-4740-BA14-9D4801EE0342}" dt="2023-12-11T14:25:48.681" v="9946" actId="1076"/>
          <ac:picMkLst>
            <pc:docMk/>
            <pc:sldMk cId="4050209955" sldId="328"/>
            <ac:picMk id="13314" creationId="{7217C424-F80A-78B0-0F18-A3345660064B}"/>
          </ac:picMkLst>
        </pc:picChg>
      </pc:sldChg>
      <pc:sldChg chg="addSp delSp modSp add mod">
        <pc:chgData name="Pierre CHAVANNE" userId="2e2e2412-eb49-4787-bd3d-d17adeb25e11" providerId="ADAL" clId="{8E769656-82DF-4740-BA14-9D4801EE0342}" dt="2023-12-11T14:33:12.335" v="10090" actId="20577"/>
        <pc:sldMkLst>
          <pc:docMk/>
          <pc:sldMk cId="1618847890" sldId="329"/>
        </pc:sldMkLst>
        <pc:spChg chg="mod">
          <ac:chgData name="Pierre CHAVANNE" userId="2e2e2412-eb49-4787-bd3d-d17adeb25e11" providerId="ADAL" clId="{8E769656-82DF-4740-BA14-9D4801EE0342}" dt="2023-12-11T14:33:12.335" v="10090" actId="20577"/>
          <ac:spMkLst>
            <pc:docMk/>
            <pc:sldMk cId="1618847890" sldId="329"/>
            <ac:spMk id="2" creationId="{E52B8373-62D1-544B-7A5C-41B622D6A38F}"/>
          </ac:spMkLst>
        </pc:spChg>
        <pc:spChg chg="mod">
          <ac:chgData name="Pierre CHAVANNE" userId="2e2e2412-eb49-4787-bd3d-d17adeb25e11" providerId="ADAL" clId="{8E769656-82DF-4740-BA14-9D4801EE0342}" dt="2023-12-11T14:30:21.655" v="9971" actId="20577"/>
          <ac:spMkLst>
            <pc:docMk/>
            <pc:sldMk cId="1618847890" sldId="329"/>
            <ac:spMk id="10" creationId="{18B9EFBA-7F92-0321-957B-DC732358BF5F}"/>
          </ac:spMkLst>
        </pc:spChg>
        <pc:picChg chg="del">
          <ac:chgData name="Pierre CHAVANNE" userId="2e2e2412-eb49-4787-bd3d-d17adeb25e11" providerId="ADAL" clId="{8E769656-82DF-4740-BA14-9D4801EE0342}" dt="2023-12-11T14:27:07.562" v="9947" actId="478"/>
          <ac:picMkLst>
            <pc:docMk/>
            <pc:sldMk cId="1618847890" sldId="329"/>
            <ac:picMk id="13" creationId="{DD8DFE15-0DC9-6EC2-9693-6D24F1EF3244}"/>
          </ac:picMkLst>
        </pc:picChg>
        <pc:picChg chg="add mod">
          <ac:chgData name="Pierre CHAVANNE" userId="2e2e2412-eb49-4787-bd3d-d17adeb25e11" providerId="ADAL" clId="{8E769656-82DF-4740-BA14-9D4801EE0342}" dt="2023-12-11T14:27:25.644" v="9952" actId="167"/>
          <ac:picMkLst>
            <pc:docMk/>
            <pc:sldMk cId="1618847890" sldId="329"/>
            <ac:picMk id="14338" creationId="{EF9E3EF9-4A7A-4FC9-0F9F-11D93C4981D6}"/>
          </ac:picMkLst>
        </pc:picChg>
      </pc:sldChg>
      <pc:sldChg chg="addSp delSp modSp add mod">
        <pc:chgData name="Pierre CHAVANNE" userId="2e2e2412-eb49-4787-bd3d-d17adeb25e11" providerId="ADAL" clId="{8E769656-82DF-4740-BA14-9D4801EE0342}" dt="2023-12-11T14:33:23.992" v="10102" actId="20577"/>
        <pc:sldMkLst>
          <pc:docMk/>
          <pc:sldMk cId="1072247607" sldId="330"/>
        </pc:sldMkLst>
        <pc:spChg chg="mod">
          <ac:chgData name="Pierre CHAVANNE" userId="2e2e2412-eb49-4787-bd3d-d17adeb25e11" providerId="ADAL" clId="{8E769656-82DF-4740-BA14-9D4801EE0342}" dt="2023-12-11T14:33:20.106" v="10096" actId="20577"/>
          <ac:spMkLst>
            <pc:docMk/>
            <pc:sldMk cId="1072247607" sldId="330"/>
            <ac:spMk id="2" creationId="{E52B8373-62D1-544B-7A5C-41B622D6A38F}"/>
          </ac:spMkLst>
        </pc:spChg>
        <pc:spChg chg="mod">
          <ac:chgData name="Pierre CHAVANNE" userId="2e2e2412-eb49-4787-bd3d-d17adeb25e11" providerId="ADAL" clId="{8E769656-82DF-4740-BA14-9D4801EE0342}" dt="2023-12-11T14:30:51.210" v="9974"/>
          <ac:spMkLst>
            <pc:docMk/>
            <pc:sldMk cId="1072247607" sldId="330"/>
            <ac:spMk id="7" creationId="{6AD4CBD7-D9A7-169D-4153-387F366F0D29}"/>
          </ac:spMkLst>
        </pc:spChg>
        <pc:spChg chg="mod">
          <ac:chgData name="Pierre CHAVANNE" userId="2e2e2412-eb49-4787-bd3d-d17adeb25e11" providerId="ADAL" clId="{8E769656-82DF-4740-BA14-9D4801EE0342}" dt="2023-12-11T14:33:23.992" v="10102" actId="20577"/>
          <ac:spMkLst>
            <pc:docMk/>
            <pc:sldMk cId="1072247607" sldId="330"/>
            <ac:spMk id="10" creationId="{18B9EFBA-7F92-0321-957B-DC732358BF5F}"/>
          </ac:spMkLst>
        </pc:spChg>
        <pc:picChg chg="del mod">
          <ac:chgData name="Pierre CHAVANNE" userId="2e2e2412-eb49-4787-bd3d-d17adeb25e11" providerId="ADAL" clId="{8E769656-82DF-4740-BA14-9D4801EE0342}" dt="2023-12-11T14:31:04.970" v="9979" actId="478"/>
          <ac:picMkLst>
            <pc:docMk/>
            <pc:sldMk cId="1072247607" sldId="330"/>
            <ac:picMk id="13" creationId="{2EBB4F3A-E66D-08A2-DBAC-9B520D026A1C}"/>
          </ac:picMkLst>
        </pc:picChg>
        <pc:picChg chg="add mod">
          <ac:chgData name="Pierre CHAVANNE" userId="2e2e2412-eb49-4787-bd3d-d17adeb25e11" providerId="ADAL" clId="{8E769656-82DF-4740-BA14-9D4801EE0342}" dt="2023-12-11T14:31:11.179" v="10010" actId="1036"/>
          <ac:picMkLst>
            <pc:docMk/>
            <pc:sldMk cId="1072247607" sldId="330"/>
            <ac:picMk id="15362" creationId="{1A459550-14A8-D5D4-17E4-DFB91FB3F440}"/>
          </ac:picMkLst>
        </pc:picChg>
      </pc:sldChg>
      <pc:sldChg chg="addSp delSp modSp add mod">
        <pc:chgData name="Pierre CHAVANNE" userId="2e2e2412-eb49-4787-bd3d-d17adeb25e11" providerId="ADAL" clId="{8E769656-82DF-4740-BA14-9D4801EE0342}" dt="2023-12-11T14:31:56.241" v="10016" actId="1076"/>
        <pc:sldMkLst>
          <pc:docMk/>
          <pc:sldMk cId="184226453" sldId="331"/>
        </pc:sldMkLst>
        <pc:picChg chg="del">
          <ac:chgData name="Pierre CHAVANNE" userId="2e2e2412-eb49-4787-bd3d-d17adeb25e11" providerId="ADAL" clId="{8E769656-82DF-4740-BA14-9D4801EE0342}" dt="2023-12-11T14:31:49.520" v="10013" actId="478"/>
          <ac:picMkLst>
            <pc:docMk/>
            <pc:sldMk cId="184226453" sldId="331"/>
            <ac:picMk id="4" creationId="{96DFA70C-C169-561E-F0D6-6A1638CC1392}"/>
          </ac:picMkLst>
        </pc:picChg>
        <pc:picChg chg="add mod">
          <ac:chgData name="Pierre CHAVANNE" userId="2e2e2412-eb49-4787-bd3d-d17adeb25e11" providerId="ADAL" clId="{8E769656-82DF-4740-BA14-9D4801EE0342}" dt="2023-12-11T14:31:56.241" v="10016" actId="1076"/>
          <ac:picMkLst>
            <pc:docMk/>
            <pc:sldMk cId="184226453" sldId="331"/>
            <ac:picMk id="16386" creationId="{D969FFAE-8390-EAA7-4F02-1CDCCADAFF62}"/>
          </ac:picMkLst>
        </pc:picChg>
      </pc:sldChg>
      <pc:sldChg chg="addSp delSp modSp add mod">
        <pc:chgData name="Pierre CHAVANNE" userId="2e2e2412-eb49-4787-bd3d-d17adeb25e11" providerId="ADAL" clId="{8E769656-82DF-4740-BA14-9D4801EE0342}" dt="2023-12-11T14:34:51.182" v="10146" actId="20577"/>
        <pc:sldMkLst>
          <pc:docMk/>
          <pc:sldMk cId="1974310555" sldId="332"/>
        </pc:sldMkLst>
        <pc:spChg chg="mod">
          <ac:chgData name="Pierre CHAVANNE" userId="2e2e2412-eb49-4787-bd3d-d17adeb25e11" providerId="ADAL" clId="{8E769656-82DF-4740-BA14-9D4801EE0342}" dt="2023-12-11T14:33:37.081" v="10108" actId="20577"/>
          <ac:spMkLst>
            <pc:docMk/>
            <pc:sldMk cId="1974310555" sldId="332"/>
            <ac:spMk id="2" creationId="{E52B8373-62D1-544B-7A5C-41B622D6A38F}"/>
          </ac:spMkLst>
        </pc:spChg>
        <pc:spChg chg="mod">
          <ac:chgData name="Pierre CHAVANNE" userId="2e2e2412-eb49-4787-bd3d-d17adeb25e11" providerId="ADAL" clId="{8E769656-82DF-4740-BA14-9D4801EE0342}" dt="2023-12-11T14:34:51.182" v="10146" actId="20577"/>
          <ac:spMkLst>
            <pc:docMk/>
            <pc:sldMk cId="1974310555" sldId="332"/>
            <ac:spMk id="10" creationId="{18B9EFBA-7F92-0321-957B-DC732358BF5F}"/>
          </ac:spMkLst>
        </pc:spChg>
        <pc:picChg chg="del">
          <ac:chgData name="Pierre CHAVANNE" userId="2e2e2412-eb49-4787-bd3d-d17adeb25e11" providerId="ADAL" clId="{8E769656-82DF-4740-BA14-9D4801EE0342}" dt="2023-12-11T14:32:12.705" v="10020" actId="478"/>
          <ac:picMkLst>
            <pc:docMk/>
            <pc:sldMk cId="1974310555" sldId="332"/>
            <ac:picMk id="13" creationId="{29690F35-3B5B-932E-27B9-5D61468D063B}"/>
          </ac:picMkLst>
        </pc:picChg>
        <pc:picChg chg="add mod">
          <ac:chgData name="Pierre CHAVANNE" userId="2e2e2412-eb49-4787-bd3d-d17adeb25e11" providerId="ADAL" clId="{8E769656-82DF-4740-BA14-9D4801EE0342}" dt="2023-12-11T14:32:17.281" v="10056" actId="1036"/>
          <ac:picMkLst>
            <pc:docMk/>
            <pc:sldMk cId="1974310555" sldId="332"/>
            <ac:picMk id="17410" creationId="{A606EFAA-E88B-F3B2-3251-99E214ECCAE4}"/>
          </ac:picMkLst>
        </pc:picChg>
      </pc:sldChg>
      <pc:sldChg chg="addSp delSp modSp add mod">
        <pc:chgData name="Pierre CHAVANNE" userId="2e2e2412-eb49-4787-bd3d-d17adeb25e11" providerId="ADAL" clId="{8E769656-82DF-4740-BA14-9D4801EE0342}" dt="2023-12-11T14:34:21.115" v="10118" actId="1076"/>
        <pc:sldMkLst>
          <pc:docMk/>
          <pc:sldMk cId="1673591059" sldId="333"/>
        </pc:sldMkLst>
        <pc:picChg chg="del">
          <ac:chgData name="Pierre CHAVANNE" userId="2e2e2412-eb49-4787-bd3d-d17adeb25e11" providerId="ADAL" clId="{8E769656-82DF-4740-BA14-9D4801EE0342}" dt="2023-12-11T14:34:11.757" v="10115" actId="478"/>
          <ac:picMkLst>
            <pc:docMk/>
            <pc:sldMk cId="1673591059" sldId="333"/>
            <ac:picMk id="7" creationId="{9DAF32C9-DAB5-B0B9-FAAD-FE0409B10815}"/>
          </ac:picMkLst>
        </pc:picChg>
        <pc:picChg chg="add mod">
          <ac:chgData name="Pierre CHAVANNE" userId="2e2e2412-eb49-4787-bd3d-d17adeb25e11" providerId="ADAL" clId="{8E769656-82DF-4740-BA14-9D4801EE0342}" dt="2023-12-11T14:34:21.115" v="10118" actId="1076"/>
          <ac:picMkLst>
            <pc:docMk/>
            <pc:sldMk cId="1673591059" sldId="333"/>
            <ac:picMk id="18434" creationId="{2A7FD1AE-2EE5-B31A-3676-C80F44804A13}"/>
          </ac:picMkLst>
        </pc:picChg>
      </pc:sldChg>
      <pc:sldChg chg="addSp delSp modSp add mod">
        <pc:chgData name="Pierre CHAVANNE" userId="2e2e2412-eb49-4787-bd3d-d17adeb25e11" providerId="ADAL" clId="{8E769656-82DF-4740-BA14-9D4801EE0342}" dt="2023-12-11T14:37:24.303" v="10188" actId="20577"/>
        <pc:sldMkLst>
          <pc:docMk/>
          <pc:sldMk cId="3056355830" sldId="334"/>
        </pc:sldMkLst>
        <pc:spChg chg="mod">
          <ac:chgData name="Pierre CHAVANNE" userId="2e2e2412-eb49-4787-bd3d-d17adeb25e11" providerId="ADAL" clId="{8E769656-82DF-4740-BA14-9D4801EE0342}" dt="2023-12-11T14:35:17.994" v="10152" actId="20577"/>
          <ac:spMkLst>
            <pc:docMk/>
            <pc:sldMk cId="3056355830" sldId="334"/>
            <ac:spMk id="2" creationId="{E52B8373-62D1-544B-7A5C-41B622D6A38F}"/>
          </ac:spMkLst>
        </pc:spChg>
        <pc:spChg chg="mod">
          <ac:chgData name="Pierre CHAVANNE" userId="2e2e2412-eb49-4787-bd3d-d17adeb25e11" providerId="ADAL" clId="{8E769656-82DF-4740-BA14-9D4801EE0342}" dt="2023-12-11T14:37:24.303" v="10188" actId="20577"/>
          <ac:spMkLst>
            <pc:docMk/>
            <pc:sldMk cId="3056355830" sldId="334"/>
            <ac:spMk id="10" creationId="{18B9EFBA-7F92-0321-957B-DC732358BF5F}"/>
          </ac:spMkLst>
        </pc:spChg>
        <pc:picChg chg="add mod">
          <ac:chgData name="Pierre CHAVANNE" userId="2e2e2412-eb49-4787-bd3d-d17adeb25e11" providerId="ADAL" clId="{8E769656-82DF-4740-BA14-9D4801EE0342}" dt="2023-12-11T14:37:12.273" v="10183" actId="1076"/>
          <ac:picMkLst>
            <pc:docMk/>
            <pc:sldMk cId="3056355830" sldId="334"/>
            <ac:picMk id="4" creationId="{FBB425F4-351F-C5DA-08AD-F1F2497EF9AA}"/>
          </ac:picMkLst>
        </pc:picChg>
        <pc:picChg chg="del">
          <ac:chgData name="Pierre CHAVANNE" userId="2e2e2412-eb49-4787-bd3d-d17adeb25e11" providerId="ADAL" clId="{8E769656-82DF-4740-BA14-9D4801EE0342}" dt="2023-12-11T14:37:01.856" v="10153" actId="478"/>
          <ac:picMkLst>
            <pc:docMk/>
            <pc:sldMk cId="3056355830" sldId="334"/>
            <ac:picMk id="34" creationId="{ED999AE7-E13F-C983-CEDF-477B32721CDF}"/>
          </ac:picMkLst>
        </pc:picChg>
      </pc:sldChg>
      <pc:sldChg chg="addSp delSp modSp add mod">
        <pc:chgData name="Pierre CHAVANNE" userId="2e2e2412-eb49-4787-bd3d-d17adeb25e11" providerId="ADAL" clId="{8E769656-82DF-4740-BA14-9D4801EE0342}" dt="2023-12-11T14:50:37.596" v="10597" actId="478"/>
        <pc:sldMkLst>
          <pc:docMk/>
          <pc:sldMk cId="3121028424" sldId="335"/>
        </pc:sldMkLst>
        <pc:spChg chg="mod">
          <ac:chgData name="Pierre CHAVANNE" userId="2e2e2412-eb49-4787-bd3d-d17adeb25e11" providerId="ADAL" clId="{8E769656-82DF-4740-BA14-9D4801EE0342}" dt="2023-12-11T14:37:45.464" v="10204" actId="20577"/>
          <ac:spMkLst>
            <pc:docMk/>
            <pc:sldMk cId="3121028424" sldId="335"/>
            <ac:spMk id="2" creationId="{E52B8373-62D1-544B-7A5C-41B622D6A38F}"/>
          </ac:spMkLst>
        </pc:spChg>
        <pc:spChg chg="mod">
          <ac:chgData name="Pierre CHAVANNE" userId="2e2e2412-eb49-4787-bd3d-d17adeb25e11" providerId="ADAL" clId="{8E769656-82DF-4740-BA14-9D4801EE0342}" dt="2023-12-11T14:39:55.728" v="10266" actId="20577"/>
          <ac:spMkLst>
            <pc:docMk/>
            <pc:sldMk cId="3121028424" sldId="335"/>
            <ac:spMk id="10" creationId="{18B9EFBA-7F92-0321-957B-DC732358BF5F}"/>
          </ac:spMkLst>
        </pc:spChg>
        <pc:picChg chg="add mod">
          <ac:chgData name="Pierre CHAVANNE" userId="2e2e2412-eb49-4787-bd3d-d17adeb25e11" providerId="ADAL" clId="{8E769656-82DF-4740-BA14-9D4801EE0342}" dt="2023-12-11T14:50:24.592" v="10596" actId="1036"/>
          <ac:picMkLst>
            <pc:docMk/>
            <pc:sldMk cId="3121028424" sldId="335"/>
            <ac:picMk id="4" creationId="{3DA9470B-0483-AB32-DCA6-D6DEBDC2E3A3}"/>
          </ac:picMkLst>
        </pc:picChg>
        <pc:picChg chg="del">
          <ac:chgData name="Pierre CHAVANNE" userId="2e2e2412-eb49-4787-bd3d-d17adeb25e11" providerId="ADAL" clId="{8E769656-82DF-4740-BA14-9D4801EE0342}" dt="2023-12-11T14:38:29.191" v="10233" actId="478"/>
          <ac:picMkLst>
            <pc:docMk/>
            <pc:sldMk cId="3121028424" sldId="335"/>
            <ac:picMk id="8" creationId="{1EDB6D1B-5227-53F7-E457-44EBB3A7A974}"/>
          </ac:picMkLst>
        </pc:picChg>
        <pc:picChg chg="del mod">
          <ac:chgData name="Pierre CHAVANNE" userId="2e2e2412-eb49-4787-bd3d-d17adeb25e11" providerId="ADAL" clId="{8E769656-82DF-4740-BA14-9D4801EE0342}" dt="2023-12-11T14:38:26.593" v="10232" actId="478"/>
          <ac:picMkLst>
            <pc:docMk/>
            <pc:sldMk cId="3121028424" sldId="335"/>
            <ac:picMk id="20" creationId="{17F72769-34E8-32BA-AADE-A7AE015C71F6}"/>
          </ac:picMkLst>
        </pc:picChg>
        <pc:picChg chg="add mod">
          <ac:chgData name="Pierre CHAVANNE" userId="2e2e2412-eb49-4787-bd3d-d17adeb25e11" providerId="ADAL" clId="{8E769656-82DF-4740-BA14-9D4801EE0342}" dt="2023-12-11T14:50:21.119" v="10578" actId="1036"/>
          <ac:picMkLst>
            <pc:docMk/>
            <pc:sldMk cId="3121028424" sldId="335"/>
            <ac:picMk id="19458" creationId="{4819728D-B48E-3FC7-BDA4-4B8991344440}"/>
          </ac:picMkLst>
        </pc:picChg>
        <pc:cxnChg chg="add del mod">
          <ac:chgData name="Pierre CHAVANNE" userId="2e2e2412-eb49-4787-bd3d-d17adeb25e11" providerId="ADAL" clId="{8E769656-82DF-4740-BA14-9D4801EE0342}" dt="2023-12-11T14:50:37.596" v="10597" actId="478"/>
          <ac:cxnSpMkLst>
            <pc:docMk/>
            <pc:sldMk cId="3121028424" sldId="335"/>
            <ac:cxnSpMk id="5" creationId="{59CFF18F-7CE9-0648-84ED-89CD2B7FCBA9}"/>
          </ac:cxnSpMkLst>
        </pc:cxnChg>
      </pc:sldChg>
      <pc:sldChg chg="addSp delSp modSp add mod">
        <pc:chgData name="Pierre CHAVANNE" userId="2e2e2412-eb49-4787-bd3d-d17adeb25e11" providerId="ADAL" clId="{8E769656-82DF-4740-BA14-9D4801EE0342}" dt="2023-12-11T14:51:53.876" v="10803" actId="20577"/>
        <pc:sldMkLst>
          <pc:docMk/>
          <pc:sldMk cId="3966347907" sldId="336"/>
        </pc:sldMkLst>
        <pc:spChg chg="mod">
          <ac:chgData name="Pierre CHAVANNE" userId="2e2e2412-eb49-4787-bd3d-d17adeb25e11" providerId="ADAL" clId="{8E769656-82DF-4740-BA14-9D4801EE0342}" dt="2023-12-11T14:51:53.876" v="10803" actId="20577"/>
          <ac:spMkLst>
            <pc:docMk/>
            <pc:sldMk cId="3966347907" sldId="336"/>
            <ac:spMk id="2" creationId="{E52B8373-62D1-544B-7A5C-41B622D6A38F}"/>
          </ac:spMkLst>
        </pc:spChg>
        <pc:spChg chg="mod">
          <ac:chgData name="Pierre CHAVANNE" userId="2e2e2412-eb49-4787-bd3d-d17adeb25e11" providerId="ADAL" clId="{8E769656-82DF-4740-BA14-9D4801EE0342}" dt="2023-12-11T14:42:00.177" v="10287" actId="20577"/>
          <ac:spMkLst>
            <pc:docMk/>
            <pc:sldMk cId="3966347907" sldId="336"/>
            <ac:spMk id="10" creationId="{18B9EFBA-7F92-0321-957B-DC732358BF5F}"/>
          </ac:spMkLst>
        </pc:spChg>
        <pc:picChg chg="del mod">
          <ac:chgData name="Pierre CHAVANNE" userId="2e2e2412-eb49-4787-bd3d-d17adeb25e11" providerId="ADAL" clId="{8E769656-82DF-4740-BA14-9D4801EE0342}" dt="2023-12-11T14:40:44.311" v="10272" actId="478"/>
          <ac:picMkLst>
            <pc:docMk/>
            <pc:sldMk cId="3966347907" sldId="336"/>
            <ac:picMk id="5" creationId="{89E71372-633B-C96E-833D-0C63FFF8C011}"/>
          </ac:picMkLst>
        </pc:picChg>
        <pc:picChg chg="add mod">
          <ac:chgData name="Pierre CHAVANNE" userId="2e2e2412-eb49-4787-bd3d-d17adeb25e11" providerId="ADAL" clId="{8E769656-82DF-4740-BA14-9D4801EE0342}" dt="2023-12-11T14:50:43.128" v="10615" actId="1036"/>
          <ac:picMkLst>
            <pc:docMk/>
            <pc:sldMk cId="3966347907" sldId="336"/>
            <ac:picMk id="8" creationId="{F39236ED-0E32-CD96-DE08-FA26711BF4FF}"/>
          </ac:picMkLst>
        </pc:picChg>
        <pc:picChg chg="del">
          <ac:chgData name="Pierre CHAVANNE" userId="2e2e2412-eb49-4787-bd3d-d17adeb25e11" providerId="ADAL" clId="{8E769656-82DF-4740-BA14-9D4801EE0342}" dt="2023-12-11T14:40:46.146" v="10273" actId="478"/>
          <ac:picMkLst>
            <pc:docMk/>
            <pc:sldMk cId="3966347907" sldId="336"/>
            <ac:picMk id="15" creationId="{3F1C550A-C601-9894-EE88-910FA14D429D}"/>
          </ac:picMkLst>
        </pc:picChg>
        <pc:picChg chg="add mod">
          <ac:chgData name="Pierre CHAVANNE" userId="2e2e2412-eb49-4787-bd3d-d17adeb25e11" providerId="ADAL" clId="{8E769656-82DF-4740-BA14-9D4801EE0342}" dt="2023-12-11T14:50:40.752" v="10603" actId="1036"/>
          <ac:picMkLst>
            <pc:docMk/>
            <pc:sldMk cId="3966347907" sldId="336"/>
            <ac:picMk id="20482" creationId="{A220AA45-A5F4-6C96-3B5A-242C25A1C04C}"/>
          </ac:picMkLst>
        </pc:picChg>
        <pc:cxnChg chg="add del mod">
          <ac:chgData name="Pierre CHAVANNE" userId="2e2e2412-eb49-4787-bd3d-d17adeb25e11" providerId="ADAL" clId="{8E769656-82DF-4740-BA14-9D4801EE0342}" dt="2023-12-11T14:50:45.285" v="10616" actId="478"/>
          <ac:cxnSpMkLst>
            <pc:docMk/>
            <pc:sldMk cId="3966347907" sldId="336"/>
            <ac:cxnSpMk id="9" creationId="{93F1721E-5D72-3D8C-D5D8-6785901E68C6}"/>
          </ac:cxnSpMkLst>
        </pc:cxnChg>
      </pc:sldChg>
      <pc:sldChg chg="addSp delSp modSp add mod">
        <pc:chgData name="Pierre CHAVANNE" userId="2e2e2412-eb49-4787-bd3d-d17adeb25e11" providerId="ADAL" clId="{8E769656-82DF-4740-BA14-9D4801EE0342}" dt="2023-12-11T15:03:04.364" v="11060" actId="20577"/>
        <pc:sldMkLst>
          <pc:docMk/>
          <pc:sldMk cId="96396930" sldId="337"/>
        </pc:sldMkLst>
        <pc:spChg chg="mod">
          <ac:chgData name="Pierre CHAVANNE" userId="2e2e2412-eb49-4787-bd3d-d17adeb25e11" providerId="ADAL" clId="{8E769656-82DF-4740-BA14-9D4801EE0342}" dt="2023-12-11T15:03:04.364" v="11060" actId="20577"/>
          <ac:spMkLst>
            <pc:docMk/>
            <pc:sldMk cId="96396930" sldId="337"/>
            <ac:spMk id="2" creationId="{E52B8373-62D1-544B-7A5C-41B622D6A38F}"/>
          </ac:spMkLst>
        </pc:spChg>
        <pc:spChg chg="mod">
          <ac:chgData name="Pierre CHAVANNE" userId="2e2e2412-eb49-4787-bd3d-d17adeb25e11" providerId="ADAL" clId="{8E769656-82DF-4740-BA14-9D4801EE0342}" dt="2023-12-11T14:54:40.074" v="10883" actId="20577"/>
          <ac:spMkLst>
            <pc:docMk/>
            <pc:sldMk cId="96396930" sldId="337"/>
            <ac:spMk id="7" creationId="{6AD4CBD7-D9A7-169D-4153-387F366F0D29}"/>
          </ac:spMkLst>
        </pc:spChg>
        <pc:spChg chg="mod">
          <ac:chgData name="Pierre CHAVANNE" userId="2e2e2412-eb49-4787-bd3d-d17adeb25e11" providerId="ADAL" clId="{8E769656-82DF-4740-BA14-9D4801EE0342}" dt="2023-12-11T14:56:21.920" v="10961" actId="20577"/>
          <ac:spMkLst>
            <pc:docMk/>
            <pc:sldMk cId="96396930" sldId="337"/>
            <ac:spMk id="10" creationId="{18B9EFBA-7F92-0321-957B-DC732358BF5F}"/>
          </ac:spMkLst>
        </pc:spChg>
        <pc:picChg chg="add del mod">
          <ac:chgData name="Pierre CHAVANNE" userId="2e2e2412-eb49-4787-bd3d-d17adeb25e11" providerId="ADAL" clId="{8E769656-82DF-4740-BA14-9D4801EE0342}" dt="2023-12-11T14:47:27.751" v="10393" actId="478"/>
          <ac:picMkLst>
            <pc:docMk/>
            <pc:sldMk cId="96396930" sldId="337"/>
            <ac:picMk id="4" creationId="{32C2EFB5-442E-604A-6FC0-D379E832BA5D}"/>
          </ac:picMkLst>
        </pc:picChg>
        <pc:picChg chg="add del">
          <ac:chgData name="Pierre CHAVANNE" userId="2e2e2412-eb49-4787-bd3d-d17adeb25e11" providerId="ADAL" clId="{8E769656-82DF-4740-BA14-9D4801EE0342}" dt="2023-12-11T14:43:37.805" v="10345" actId="478"/>
          <ac:picMkLst>
            <pc:docMk/>
            <pc:sldMk cId="96396930" sldId="337"/>
            <ac:picMk id="8" creationId="{0B0EF97D-3B1E-30BB-F474-E92FE16B7188}"/>
          </ac:picMkLst>
        </pc:picChg>
        <pc:picChg chg="add mod">
          <ac:chgData name="Pierre CHAVANNE" userId="2e2e2412-eb49-4787-bd3d-d17adeb25e11" providerId="ADAL" clId="{8E769656-82DF-4740-BA14-9D4801EE0342}" dt="2023-12-11T14:51:15.434" v="10747" actId="1036"/>
          <ac:picMkLst>
            <pc:docMk/>
            <pc:sldMk cId="96396930" sldId="337"/>
            <ac:picMk id="9" creationId="{4D1A801F-0D18-DAB9-AEE6-95ECF39A5320}"/>
          </ac:picMkLst>
        </pc:picChg>
        <pc:picChg chg="del">
          <ac:chgData name="Pierre CHAVANNE" userId="2e2e2412-eb49-4787-bd3d-d17adeb25e11" providerId="ADAL" clId="{8E769656-82DF-4740-BA14-9D4801EE0342}" dt="2023-12-11T14:43:25.263" v="10341" actId="478"/>
          <ac:picMkLst>
            <pc:docMk/>
            <pc:sldMk cId="96396930" sldId="337"/>
            <ac:picMk id="18" creationId="{78F4221C-B887-5C66-AE16-A43AB674CFDB}"/>
          </ac:picMkLst>
        </pc:picChg>
        <pc:picChg chg="add mod">
          <ac:chgData name="Pierre CHAVANNE" userId="2e2e2412-eb49-4787-bd3d-d17adeb25e11" providerId="ADAL" clId="{8E769656-82DF-4740-BA14-9D4801EE0342}" dt="2023-12-11T14:51:11.899" v="10724" actId="1036"/>
          <ac:picMkLst>
            <pc:docMk/>
            <pc:sldMk cId="96396930" sldId="337"/>
            <ac:picMk id="21506" creationId="{EF821EA7-24BD-07F9-3747-EDC9C1494837}"/>
          </ac:picMkLst>
        </pc:picChg>
        <pc:cxnChg chg="add del mod">
          <ac:chgData name="Pierre CHAVANNE" userId="2e2e2412-eb49-4787-bd3d-d17adeb25e11" providerId="ADAL" clId="{8E769656-82DF-4740-BA14-9D4801EE0342}" dt="2023-12-11T14:51:18.388" v="10748" actId="478"/>
          <ac:cxnSpMkLst>
            <pc:docMk/>
            <pc:sldMk cId="96396930" sldId="337"/>
            <ac:cxnSpMk id="11" creationId="{11D8AE74-C8D7-AC6E-082A-15CB40F41EFE}"/>
          </ac:cxnSpMkLst>
        </pc:cxnChg>
      </pc:sldChg>
      <pc:sldChg chg="addSp delSp modSp add mod ord">
        <pc:chgData name="Pierre CHAVANNE" userId="2e2e2412-eb49-4787-bd3d-d17adeb25e11" providerId="ADAL" clId="{8E769656-82DF-4740-BA14-9D4801EE0342}" dt="2023-12-11T14:54:16.759" v="10869" actId="20577"/>
        <pc:sldMkLst>
          <pc:docMk/>
          <pc:sldMk cId="2969756454" sldId="338"/>
        </pc:sldMkLst>
        <pc:spChg chg="mod">
          <ac:chgData name="Pierre CHAVANNE" userId="2e2e2412-eb49-4787-bd3d-d17adeb25e11" providerId="ADAL" clId="{8E769656-82DF-4740-BA14-9D4801EE0342}" dt="2023-12-11T14:52:09.991" v="10824" actId="20577"/>
          <ac:spMkLst>
            <pc:docMk/>
            <pc:sldMk cId="2969756454" sldId="338"/>
            <ac:spMk id="2" creationId="{E52B8373-62D1-544B-7A5C-41B622D6A38F}"/>
          </ac:spMkLst>
        </pc:spChg>
        <pc:spChg chg="mod">
          <ac:chgData name="Pierre CHAVANNE" userId="2e2e2412-eb49-4787-bd3d-d17adeb25e11" providerId="ADAL" clId="{8E769656-82DF-4740-BA14-9D4801EE0342}" dt="2023-12-11T14:43:56.519" v="10353" actId="20577"/>
          <ac:spMkLst>
            <pc:docMk/>
            <pc:sldMk cId="2969756454" sldId="338"/>
            <ac:spMk id="7" creationId="{6AD4CBD7-D9A7-169D-4153-387F366F0D29}"/>
          </ac:spMkLst>
        </pc:spChg>
        <pc:spChg chg="mod">
          <ac:chgData name="Pierre CHAVANNE" userId="2e2e2412-eb49-4787-bd3d-d17adeb25e11" providerId="ADAL" clId="{8E769656-82DF-4740-BA14-9D4801EE0342}" dt="2023-12-11T14:54:16.759" v="10869" actId="20577"/>
          <ac:spMkLst>
            <pc:docMk/>
            <pc:sldMk cId="2969756454" sldId="338"/>
            <ac:spMk id="10" creationId="{18B9EFBA-7F92-0321-957B-DC732358BF5F}"/>
          </ac:spMkLst>
        </pc:spChg>
        <pc:picChg chg="add mod">
          <ac:chgData name="Pierre CHAVANNE" userId="2e2e2412-eb49-4787-bd3d-d17adeb25e11" providerId="ADAL" clId="{8E769656-82DF-4740-BA14-9D4801EE0342}" dt="2023-12-11T14:50:51.605" v="10655" actId="1035"/>
          <ac:picMkLst>
            <pc:docMk/>
            <pc:sldMk cId="2969756454" sldId="338"/>
            <ac:picMk id="5" creationId="{1426DBDF-5CDC-C629-7937-43729C7F04E6}"/>
          </ac:picMkLst>
        </pc:picChg>
        <pc:picChg chg="del mod">
          <ac:chgData name="Pierre CHAVANNE" userId="2e2e2412-eb49-4787-bd3d-d17adeb25e11" providerId="ADAL" clId="{8E769656-82DF-4740-BA14-9D4801EE0342}" dt="2023-12-11T14:43:45.878" v="10348" actId="478"/>
          <ac:picMkLst>
            <pc:docMk/>
            <pc:sldMk cId="2969756454" sldId="338"/>
            <ac:picMk id="15" creationId="{EDEC33E9-EA1A-A504-03ED-45381AF6C460}"/>
          </ac:picMkLst>
        </pc:picChg>
        <pc:picChg chg="del">
          <ac:chgData name="Pierre CHAVANNE" userId="2e2e2412-eb49-4787-bd3d-d17adeb25e11" providerId="ADAL" clId="{8E769656-82DF-4740-BA14-9D4801EE0342}" dt="2023-12-11T14:43:45.439" v="10346" actId="478"/>
          <ac:picMkLst>
            <pc:docMk/>
            <pc:sldMk cId="2969756454" sldId="338"/>
            <ac:picMk id="1026" creationId="{D3FA8822-7191-E03C-91E5-8AC91E125462}"/>
          </ac:picMkLst>
        </pc:picChg>
        <pc:picChg chg="add mod">
          <ac:chgData name="Pierre CHAVANNE" userId="2e2e2412-eb49-4787-bd3d-d17adeb25e11" providerId="ADAL" clId="{8E769656-82DF-4740-BA14-9D4801EE0342}" dt="2023-12-11T14:50:48.919" v="10635" actId="1036"/>
          <ac:picMkLst>
            <pc:docMk/>
            <pc:sldMk cId="2969756454" sldId="338"/>
            <ac:picMk id="11266" creationId="{D5DCBA3B-6205-A512-75E1-4AAB7E863329}"/>
          </ac:picMkLst>
        </pc:picChg>
        <pc:cxnChg chg="add del mod">
          <ac:chgData name="Pierre CHAVANNE" userId="2e2e2412-eb49-4787-bd3d-d17adeb25e11" providerId="ADAL" clId="{8E769656-82DF-4740-BA14-9D4801EE0342}" dt="2023-12-11T14:50:53.508" v="10656" actId="478"/>
          <ac:cxnSpMkLst>
            <pc:docMk/>
            <pc:sldMk cId="2969756454" sldId="338"/>
            <ac:cxnSpMk id="8" creationId="{A639B3FF-4D1C-7AAD-B2A6-E9B3303619E3}"/>
          </ac:cxnSpMkLst>
        </pc:cxnChg>
      </pc:sldChg>
      <pc:sldChg chg="addSp delSp modSp add mod ord">
        <pc:chgData name="Pierre CHAVANNE" userId="2e2e2412-eb49-4787-bd3d-d17adeb25e11" providerId="ADAL" clId="{8E769656-82DF-4740-BA14-9D4801EE0342}" dt="2023-12-11T15:03:00.730" v="11054" actId="20577"/>
        <pc:sldMkLst>
          <pc:docMk/>
          <pc:sldMk cId="3712497180" sldId="339"/>
        </pc:sldMkLst>
        <pc:spChg chg="mod">
          <ac:chgData name="Pierre CHAVANNE" userId="2e2e2412-eb49-4787-bd3d-d17adeb25e11" providerId="ADAL" clId="{8E769656-82DF-4740-BA14-9D4801EE0342}" dt="2023-12-11T15:03:00.730" v="11054" actId="20577"/>
          <ac:spMkLst>
            <pc:docMk/>
            <pc:sldMk cId="3712497180" sldId="339"/>
            <ac:spMk id="2" creationId="{E52B8373-62D1-544B-7A5C-41B622D6A38F}"/>
          </ac:spMkLst>
        </pc:spChg>
        <pc:spChg chg="mod">
          <ac:chgData name="Pierre CHAVANNE" userId="2e2e2412-eb49-4787-bd3d-d17adeb25e11" providerId="ADAL" clId="{8E769656-82DF-4740-BA14-9D4801EE0342}" dt="2023-12-11T14:45:34.463" v="10378"/>
          <ac:spMkLst>
            <pc:docMk/>
            <pc:sldMk cId="3712497180" sldId="339"/>
            <ac:spMk id="7" creationId="{6AD4CBD7-D9A7-169D-4153-387F366F0D29}"/>
          </ac:spMkLst>
        </pc:spChg>
        <pc:spChg chg="mod">
          <ac:chgData name="Pierre CHAVANNE" userId="2e2e2412-eb49-4787-bd3d-d17adeb25e11" providerId="ADAL" clId="{8E769656-82DF-4740-BA14-9D4801EE0342}" dt="2023-12-11T14:54:50.485" v="10888" actId="20577"/>
          <ac:spMkLst>
            <pc:docMk/>
            <pc:sldMk cId="3712497180" sldId="339"/>
            <ac:spMk id="10" creationId="{18B9EFBA-7F92-0321-957B-DC732358BF5F}"/>
          </ac:spMkLst>
        </pc:spChg>
        <pc:graphicFrameChg chg="add del mod">
          <ac:chgData name="Pierre CHAVANNE" userId="2e2e2412-eb49-4787-bd3d-d17adeb25e11" providerId="ADAL" clId="{8E769656-82DF-4740-BA14-9D4801EE0342}" dt="2023-12-11T14:46:35.395" v="10383"/>
          <ac:graphicFrameMkLst>
            <pc:docMk/>
            <pc:sldMk cId="3712497180" sldId="339"/>
            <ac:graphicFrameMk id="3" creationId="{21AE3217-845A-7B2A-B15E-B3FEA5F81E51}"/>
          </ac:graphicFrameMkLst>
        </pc:graphicFrameChg>
        <pc:picChg chg="add mod">
          <ac:chgData name="Pierre CHAVANNE" userId="2e2e2412-eb49-4787-bd3d-d17adeb25e11" providerId="ADAL" clId="{8E769656-82DF-4740-BA14-9D4801EE0342}" dt="2023-12-11T14:51:00.690" v="10704" actId="1035"/>
          <ac:picMkLst>
            <pc:docMk/>
            <pc:sldMk cId="3712497180" sldId="339"/>
            <ac:picMk id="8" creationId="{56B52535-9F69-EDED-C806-497A42A097DE}"/>
          </ac:picMkLst>
        </pc:picChg>
        <pc:picChg chg="del">
          <ac:chgData name="Pierre CHAVANNE" userId="2e2e2412-eb49-4787-bd3d-d17adeb25e11" providerId="ADAL" clId="{8E769656-82DF-4740-BA14-9D4801EE0342}" dt="2023-12-11T14:43:47.897" v="10350" actId="478"/>
          <ac:picMkLst>
            <pc:docMk/>
            <pc:sldMk cId="3712497180" sldId="339"/>
            <ac:picMk id="14" creationId="{5D3598EF-4492-36F9-18FA-4C12D0C1B831}"/>
          </ac:picMkLst>
        </pc:picChg>
        <pc:picChg chg="del">
          <ac:chgData name="Pierre CHAVANNE" userId="2e2e2412-eb49-4787-bd3d-d17adeb25e11" providerId="ADAL" clId="{8E769656-82DF-4740-BA14-9D4801EE0342}" dt="2023-12-11T14:43:47.538" v="10349" actId="478"/>
          <ac:picMkLst>
            <pc:docMk/>
            <pc:sldMk cId="3712497180" sldId="339"/>
            <ac:picMk id="2050" creationId="{7042412F-3F27-9613-B324-4D50E6A5654E}"/>
          </ac:picMkLst>
        </pc:picChg>
        <pc:picChg chg="add mod">
          <ac:chgData name="Pierre CHAVANNE" userId="2e2e2412-eb49-4787-bd3d-d17adeb25e11" providerId="ADAL" clId="{8E769656-82DF-4740-BA14-9D4801EE0342}" dt="2023-12-11T14:50:57.490" v="10675" actId="1036"/>
          <ac:picMkLst>
            <pc:docMk/>
            <pc:sldMk cId="3712497180" sldId="339"/>
            <ac:picMk id="10242" creationId="{656C976A-E48B-3AC8-8CE4-3718D3BA6D05}"/>
          </ac:picMkLst>
        </pc:picChg>
        <pc:cxnChg chg="add del mod">
          <ac:chgData name="Pierre CHAVANNE" userId="2e2e2412-eb49-4787-bd3d-d17adeb25e11" providerId="ADAL" clId="{8E769656-82DF-4740-BA14-9D4801EE0342}" dt="2023-12-11T14:51:03.506" v="10705" actId="478"/>
          <ac:cxnSpMkLst>
            <pc:docMk/>
            <pc:sldMk cId="3712497180" sldId="339"/>
            <ac:cxnSpMk id="9" creationId="{5F4B77AA-0B62-F746-B9DE-4B8B36463CB5}"/>
          </ac:cxnSpMkLst>
        </pc:cxnChg>
        <pc:cxnChg chg="add del mod">
          <ac:chgData name="Pierre CHAVANNE" userId="2e2e2412-eb49-4787-bd3d-d17adeb25e11" providerId="ADAL" clId="{8E769656-82DF-4740-BA14-9D4801EE0342}" dt="2023-12-11T14:51:07.815" v="10707"/>
          <ac:cxnSpMkLst>
            <pc:docMk/>
            <pc:sldMk cId="3712497180" sldId="339"/>
            <ac:cxnSpMk id="11" creationId="{383CFFAA-00CA-D404-3B97-A638C3C8E7C1}"/>
          </ac:cxnSpMkLst>
        </pc:cxnChg>
      </pc:sldChg>
      <pc:sldChg chg="addSp delSp modSp add mod">
        <pc:chgData name="Pierre CHAVANNE" userId="2e2e2412-eb49-4787-bd3d-d17adeb25e11" providerId="ADAL" clId="{8E769656-82DF-4740-BA14-9D4801EE0342}" dt="2023-12-11T15:10:31.706" v="11234" actId="20577"/>
        <pc:sldMkLst>
          <pc:docMk/>
          <pc:sldMk cId="2553264670" sldId="340"/>
        </pc:sldMkLst>
        <pc:spChg chg="mod">
          <ac:chgData name="Pierre CHAVANNE" userId="2e2e2412-eb49-4787-bd3d-d17adeb25e11" providerId="ADAL" clId="{8E769656-82DF-4740-BA14-9D4801EE0342}" dt="2023-12-11T15:03:08.059" v="11066" actId="20577"/>
          <ac:spMkLst>
            <pc:docMk/>
            <pc:sldMk cId="2553264670" sldId="340"/>
            <ac:spMk id="2" creationId="{E52B8373-62D1-544B-7A5C-41B622D6A38F}"/>
          </ac:spMkLst>
        </pc:spChg>
        <pc:spChg chg="mod">
          <ac:chgData name="Pierre CHAVANNE" userId="2e2e2412-eb49-4787-bd3d-d17adeb25e11" providerId="ADAL" clId="{8E769656-82DF-4740-BA14-9D4801EE0342}" dt="2023-12-11T15:10:31.706" v="11234" actId="20577"/>
          <ac:spMkLst>
            <pc:docMk/>
            <pc:sldMk cId="2553264670" sldId="340"/>
            <ac:spMk id="14" creationId="{244A11D9-903C-063B-57C5-F8DBD33A487B}"/>
          </ac:spMkLst>
        </pc:spChg>
        <pc:picChg chg="add mod">
          <ac:chgData name="Pierre CHAVANNE" userId="2e2e2412-eb49-4787-bd3d-d17adeb25e11" providerId="ADAL" clId="{8E769656-82DF-4740-BA14-9D4801EE0342}" dt="2023-12-11T15:07:21.386" v="11112" actId="1076"/>
          <ac:picMkLst>
            <pc:docMk/>
            <pc:sldMk cId="2553264670" sldId="340"/>
            <ac:picMk id="8" creationId="{D3037864-3EBA-3F74-1F67-2F0D2E154B8D}"/>
          </ac:picMkLst>
        </pc:picChg>
        <pc:picChg chg="del mod">
          <ac:chgData name="Pierre CHAVANNE" userId="2e2e2412-eb49-4787-bd3d-d17adeb25e11" providerId="ADAL" clId="{8E769656-82DF-4740-BA14-9D4801EE0342}" dt="2023-12-11T15:06:20.196" v="11109" actId="478"/>
          <ac:picMkLst>
            <pc:docMk/>
            <pc:sldMk cId="2553264670" sldId="340"/>
            <ac:picMk id="20" creationId="{9DA74D9A-992B-8F96-2317-AC22A113A389}"/>
          </ac:picMkLst>
        </pc:picChg>
        <pc:picChg chg="del mod">
          <ac:chgData name="Pierre CHAVANNE" userId="2e2e2412-eb49-4787-bd3d-d17adeb25e11" providerId="ADAL" clId="{8E769656-82DF-4740-BA14-9D4801EE0342}" dt="2023-12-11T15:03:41.230" v="11089" actId="478"/>
          <ac:picMkLst>
            <pc:docMk/>
            <pc:sldMk cId="2553264670" sldId="340"/>
            <ac:picMk id="3074" creationId="{0E49D444-10C0-572B-FCCA-2680B1B8C583}"/>
          </ac:picMkLst>
        </pc:picChg>
        <pc:picChg chg="add mod">
          <ac:chgData name="Pierre CHAVANNE" userId="2e2e2412-eb49-4787-bd3d-d17adeb25e11" providerId="ADAL" clId="{8E769656-82DF-4740-BA14-9D4801EE0342}" dt="2023-12-11T15:03:39.639" v="11088" actId="167"/>
          <ac:picMkLst>
            <pc:docMk/>
            <pc:sldMk cId="2553264670" sldId="340"/>
            <ac:picMk id="9218" creationId="{6DA7B4AE-37EB-72F9-7717-CB76F5BEDFBF}"/>
          </ac:picMkLst>
        </pc:picChg>
        <pc:cxnChg chg="add del mod">
          <ac:chgData name="Pierre CHAVANNE" userId="2e2e2412-eb49-4787-bd3d-d17adeb25e11" providerId="ADAL" clId="{8E769656-82DF-4740-BA14-9D4801EE0342}" dt="2023-12-11T14:51:25.875" v="10762" actId="478"/>
          <ac:cxnSpMkLst>
            <pc:docMk/>
            <pc:sldMk cId="2553264670" sldId="340"/>
            <ac:cxnSpMk id="4" creationId="{E0F4A49B-0DD3-1F74-73DE-3AB130D1EF1F}"/>
          </ac:cxnSpMkLst>
        </pc:cxnChg>
      </pc:sldChg>
      <pc:sldChg chg="addSp delSp modSp add mod">
        <pc:chgData name="Pierre CHAVANNE" userId="2e2e2412-eb49-4787-bd3d-d17adeb25e11" providerId="ADAL" clId="{8E769656-82DF-4740-BA14-9D4801EE0342}" dt="2023-12-11T15:12:46.187" v="11344" actId="20577"/>
        <pc:sldMkLst>
          <pc:docMk/>
          <pc:sldMk cId="159668005" sldId="341"/>
        </pc:sldMkLst>
        <pc:spChg chg="mod">
          <ac:chgData name="Pierre CHAVANNE" userId="2e2e2412-eb49-4787-bd3d-d17adeb25e11" providerId="ADAL" clId="{8E769656-82DF-4740-BA14-9D4801EE0342}" dt="2023-12-11T15:10:38.123" v="11244" actId="20577"/>
          <ac:spMkLst>
            <pc:docMk/>
            <pc:sldMk cId="159668005" sldId="341"/>
            <ac:spMk id="2" creationId="{E52B8373-62D1-544B-7A5C-41B622D6A38F}"/>
          </ac:spMkLst>
        </pc:spChg>
        <pc:spChg chg="mod">
          <ac:chgData name="Pierre CHAVANNE" userId="2e2e2412-eb49-4787-bd3d-d17adeb25e11" providerId="ADAL" clId="{8E769656-82DF-4740-BA14-9D4801EE0342}" dt="2023-12-11T15:12:46.187" v="11344" actId="20577"/>
          <ac:spMkLst>
            <pc:docMk/>
            <pc:sldMk cId="159668005" sldId="341"/>
            <ac:spMk id="14" creationId="{244A11D9-903C-063B-57C5-F8DBD33A487B}"/>
          </ac:spMkLst>
        </pc:spChg>
        <pc:picChg chg="add mod">
          <ac:chgData name="Pierre CHAVANNE" userId="2e2e2412-eb49-4787-bd3d-d17adeb25e11" providerId="ADAL" clId="{8E769656-82DF-4740-BA14-9D4801EE0342}" dt="2023-12-11T15:09:01.788" v="11174" actId="1076"/>
          <ac:picMkLst>
            <pc:docMk/>
            <pc:sldMk cId="159668005" sldId="341"/>
            <ac:picMk id="5" creationId="{D041D903-79F5-98CB-9449-9530657D69FF}"/>
          </ac:picMkLst>
        </pc:picChg>
        <pc:picChg chg="del mod">
          <ac:chgData name="Pierre CHAVANNE" userId="2e2e2412-eb49-4787-bd3d-d17adeb25e11" providerId="ADAL" clId="{8E769656-82DF-4740-BA14-9D4801EE0342}" dt="2023-12-11T15:07:49.735" v="11169" actId="478"/>
          <ac:picMkLst>
            <pc:docMk/>
            <pc:sldMk cId="159668005" sldId="341"/>
            <ac:picMk id="13" creationId="{CA572920-80AF-B899-1A38-D588E6A910CE}"/>
          </ac:picMkLst>
        </pc:picChg>
        <pc:picChg chg="del mod">
          <ac:chgData name="Pierre CHAVANNE" userId="2e2e2412-eb49-4787-bd3d-d17adeb25e11" providerId="ADAL" clId="{8E769656-82DF-4740-BA14-9D4801EE0342}" dt="2023-12-11T15:07:48.063" v="11168" actId="478"/>
          <ac:picMkLst>
            <pc:docMk/>
            <pc:sldMk cId="159668005" sldId="341"/>
            <ac:picMk id="4098" creationId="{7A66E031-7D5B-D473-0EF5-283D60DDCF08}"/>
          </ac:picMkLst>
        </pc:picChg>
        <pc:picChg chg="add mod">
          <ac:chgData name="Pierre CHAVANNE" userId="2e2e2412-eb49-4787-bd3d-d17adeb25e11" providerId="ADAL" clId="{8E769656-82DF-4740-BA14-9D4801EE0342}" dt="2023-12-11T15:07:47.082" v="11167" actId="167"/>
          <ac:picMkLst>
            <pc:docMk/>
            <pc:sldMk cId="159668005" sldId="341"/>
            <ac:picMk id="8194" creationId="{C8316548-E5A6-BE7B-E3AF-F5F069806BBF}"/>
          </ac:picMkLst>
        </pc:picChg>
        <pc:cxnChg chg="add del mod">
          <ac:chgData name="Pierre CHAVANNE" userId="2e2e2412-eb49-4787-bd3d-d17adeb25e11" providerId="ADAL" clId="{8E769656-82DF-4740-BA14-9D4801EE0342}" dt="2023-12-11T14:51:33.072" v="10784" actId="478"/>
          <ac:cxnSpMkLst>
            <pc:docMk/>
            <pc:sldMk cId="159668005" sldId="341"/>
            <ac:cxnSpMk id="3" creationId="{D9FB8F63-A8F8-4DBD-48DB-A8AE62960B43}"/>
          </ac:cxnSpMkLst>
        </pc:cxnChg>
      </pc:sldChg>
      <pc:sldChg chg="addSp delSp modSp add mod">
        <pc:chgData name="Pierre CHAVANNE" userId="2e2e2412-eb49-4787-bd3d-d17adeb25e11" providerId="ADAL" clId="{8E769656-82DF-4740-BA14-9D4801EE0342}" dt="2023-12-11T15:12:56.199" v="11355" actId="20577"/>
        <pc:sldMkLst>
          <pc:docMk/>
          <pc:sldMk cId="288494447" sldId="342"/>
        </pc:sldMkLst>
        <pc:spChg chg="mod">
          <ac:chgData name="Pierre CHAVANNE" userId="2e2e2412-eb49-4787-bd3d-d17adeb25e11" providerId="ADAL" clId="{8E769656-82DF-4740-BA14-9D4801EE0342}" dt="2023-12-11T15:12:56.199" v="11355" actId="20577"/>
          <ac:spMkLst>
            <pc:docMk/>
            <pc:sldMk cId="288494447" sldId="342"/>
            <ac:spMk id="2" creationId="{E52B8373-62D1-544B-7A5C-41B622D6A38F}"/>
          </ac:spMkLst>
        </pc:spChg>
        <pc:spChg chg="mod">
          <ac:chgData name="Pierre CHAVANNE" userId="2e2e2412-eb49-4787-bd3d-d17adeb25e11" providerId="ADAL" clId="{8E769656-82DF-4740-BA14-9D4801EE0342}" dt="2023-12-11T15:12:52.912" v="11349" actId="20577"/>
          <ac:spMkLst>
            <pc:docMk/>
            <pc:sldMk cId="288494447" sldId="342"/>
            <ac:spMk id="14" creationId="{244A11D9-903C-063B-57C5-F8DBD33A487B}"/>
          </ac:spMkLst>
        </pc:spChg>
        <pc:picChg chg="add mod">
          <ac:chgData name="Pierre CHAVANNE" userId="2e2e2412-eb49-4787-bd3d-d17adeb25e11" providerId="ADAL" clId="{8E769656-82DF-4740-BA14-9D4801EE0342}" dt="2023-12-11T15:10:18.301" v="11229" actId="1076"/>
          <ac:picMkLst>
            <pc:docMk/>
            <pc:sldMk cId="288494447" sldId="342"/>
            <ac:picMk id="8" creationId="{92041C47-74AB-D147-5C1B-5CB506C27FD5}"/>
          </ac:picMkLst>
        </pc:picChg>
        <pc:picChg chg="del mod">
          <ac:chgData name="Pierre CHAVANNE" userId="2e2e2412-eb49-4787-bd3d-d17adeb25e11" providerId="ADAL" clId="{8E769656-82DF-4740-BA14-9D4801EE0342}" dt="2023-12-11T15:09:30.238" v="11226" actId="478"/>
          <ac:picMkLst>
            <pc:docMk/>
            <pc:sldMk cId="288494447" sldId="342"/>
            <ac:picMk id="15" creationId="{992DF3F5-43D4-5C5F-67BA-17710507968F}"/>
          </ac:picMkLst>
        </pc:picChg>
        <pc:picChg chg="del mod">
          <ac:chgData name="Pierre CHAVANNE" userId="2e2e2412-eb49-4787-bd3d-d17adeb25e11" providerId="ADAL" clId="{8E769656-82DF-4740-BA14-9D4801EE0342}" dt="2023-12-11T15:09:29.133" v="11225" actId="478"/>
          <ac:picMkLst>
            <pc:docMk/>
            <pc:sldMk cId="288494447" sldId="342"/>
            <ac:picMk id="5122" creationId="{A4A098EA-ACDD-EE1F-9DB4-A7070D6B4151}"/>
          </ac:picMkLst>
        </pc:picChg>
        <pc:picChg chg="add mod">
          <ac:chgData name="Pierre CHAVANNE" userId="2e2e2412-eb49-4787-bd3d-d17adeb25e11" providerId="ADAL" clId="{8E769656-82DF-4740-BA14-9D4801EE0342}" dt="2023-12-11T15:09:27.888" v="11224" actId="167"/>
          <ac:picMkLst>
            <pc:docMk/>
            <pc:sldMk cId="288494447" sldId="342"/>
            <ac:picMk id="7170" creationId="{DE4CA4F2-FDF9-32B4-BC2B-AFBF9D7EB0F3}"/>
          </ac:picMkLst>
        </pc:picChg>
        <pc:cxnChg chg="add del mod">
          <ac:chgData name="Pierre CHAVANNE" userId="2e2e2412-eb49-4787-bd3d-d17adeb25e11" providerId="ADAL" clId="{8E769656-82DF-4740-BA14-9D4801EE0342}" dt="2023-12-11T14:51:39.190" v="10797" actId="478"/>
          <ac:cxnSpMkLst>
            <pc:docMk/>
            <pc:sldMk cId="288494447" sldId="342"/>
            <ac:cxnSpMk id="3" creationId="{701543DD-BB18-16F2-4181-042D7ABD0D3F}"/>
          </ac:cxnSpMkLst>
        </pc:cxnChg>
      </pc:sldChg>
      <pc:sldChg chg="addSp delSp modSp add mod">
        <pc:chgData name="Pierre CHAVANNE" userId="2e2e2412-eb49-4787-bd3d-d17adeb25e11" providerId="ADAL" clId="{8E769656-82DF-4740-BA14-9D4801EE0342}" dt="2023-12-11T15:00:28.030" v="11048" actId="20577"/>
        <pc:sldMkLst>
          <pc:docMk/>
          <pc:sldMk cId="2179127919" sldId="343"/>
        </pc:sldMkLst>
        <pc:spChg chg="mod">
          <ac:chgData name="Pierre CHAVANNE" userId="2e2e2412-eb49-4787-bd3d-d17adeb25e11" providerId="ADAL" clId="{8E769656-82DF-4740-BA14-9D4801EE0342}" dt="2023-12-11T14:57:03.007" v="10980" actId="20577"/>
          <ac:spMkLst>
            <pc:docMk/>
            <pc:sldMk cId="2179127919" sldId="343"/>
            <ac:spMk id="7" creationId="{6AD4CBD7-D9A7-169D-4153-387F366F0D29}"/>
          </ac:spMkLst>
        </pc:spChg>
        <pc:spChg chg="mod">
          <ac:chgData name="Pierre CHAVANNE" userId="2e2e2412-eb49-4787-bd3d-d17adeb25e11" providerId="ADAL" clId="{8E769656-82DF-4740-BA14-9D4801EE0342}" dt="2023-12-11T15:00:28.030" v="11048" actId="20577"/>
          <ac:spMkLst>
            <pc:docMk/>
            <pc:sldMk cId="2179127919" sldId="343"/>
            <ac:spMk id="10" creationId="{18B9EFBA-7F92-0321-957B-DC732358BF5F}"/>
          </ac:spMkLst>
        </pc:spChg>
        <pc:picChg chg="add mod">
          <ac:chgData name="Pierre CHAVANNE" userId="2e2e2412-eb49-4787-bd3d-d17adeb25e11" providerId="ADAL" clId="{8E769656-82DF-4740-BA14-9D4801EE0342}" dt="2023-12-11T14:59:02.353" v="10984" actId="1076"/>
          <ac:picMkLst>
            <pc:docMk/>
            <pc:sldMk cId="2179127919" sldId="343"/>
            <ac:picMk id="4" creationId="{7C86899E-EA98-5D25-256E-2E98904E585C}"/>
          </ac:picMkLst>
        </pc:picChg>
        <pc:picChg chg="del">
          <ac:chgData name="Pierre CHAVANNE" userId="2e2e2412-eb49-4787-bd3d-d17adeb25e11" providerId="ADAL" clId="{8E769656-82DF-4740-BA14-9D4801EE0342}" dt="2023-12-11T14:57:09.224" v="10981" actId="478"/>
          <ac:picMkLst>
            <pc:docMk/>
            <pc:sldMk cId="2179127919" sldId="343"/>
            <ac:picMk id="34" creationId="{ED999AE7-E13F-C983-CEDF-477B32721CDF}"/>
          </ac:picMkLst>
        </pc:picChg>
      </pc:sldChg>
      <pc:sldChg chg="addSp delSp modSp add mod">
        <pc:chgData name="Pierre CHAVANNE" userId="2e2e2412-eb49-4787-bd3d-d17adeb25e11" providerId="ADAL" clId="{8E769656-82DF-4740-BA14-9D4801EE0342}" dt="2023-12-11T15:06:05.594" v="11108" actId="1076"/>
        <pc:sldMkLst>
          <pc:docMk/>
          <pc:sldMk cId="1018810711" sldId="344"/>
        </pc:sldMkLst>
        <pc:spChg chg="mod">
          <ac:chgData name="Pierre CHAVANNE" userId="2e2e2412-eb49-4787-bd3d-d17adeb25e11" providerId="ADAL" clId="{8E769656-82DF-4740-BA14-9D4801EE0342}" dt="2023-12-11T15:04:29.554" v="11096" actId="20577"/>
          <ac:spMkLst>
            <pc:docMk/>
            <pc:sldMk cId="1018810711" sldId="344"/>
            <ac:spMk id="2" creationId="{E52B8373-62D1-544B-7A5C-41B622D6A38F}"/>
          </ac:spMkLst>
        </pc:spChg>
        <pc:spChg chg="mod">
          <ac:chgData name="Pierre CHAVANNE" userId="2e2e2412-eb49-4787-bd3d-d17adeb25e11" providerId="ADAL" clId="{8E769656-82DF-4740-BA14-9D4801EE0342}" dt="2023-12-11T15:04:37.538" v="11101" actId="20577"/>
          <ac:spMkLst>
            <pc:docMk/>
            <pc:sldMk cId="1018810711" sldId="344"/>
            <ac:spMk id="10" creationId="{18B9EFBA-7F92-0321-957B-DC732358BF5F}"/>
          </ac:spMkLst>
        </pc:spChg>
        <pc:picChg chg="del">
          <ac:chgData name="Pierre CHAVANNE" userId="2e2e2412-eb49-4787-bd3d-d17adeb25e11" providerId="ADAL" clId="{8E769656-82DF-4740-BA14-9D4801EE0342}" dt="2023-12-11T15:04:44.256" v="11102" actId="478"/>
          <ac:picMkLst>
            <pc:docMk/>
            <pc:sldMk cId="1018810711" sldId="344"/>
            <ac:picMk id="4" creationId="{7C86899E-EA98-5D25-256E-2E98904E585C}"/>
          </ac:picMkLst>
        </pc:picChg>
        <pc:picChg chg="add mod modCrop">
          <ac:chgData name="Pierre CHAVANNE" userId="2e2e2412-eb49-4787-bd3d-d17adeb25e11" providerId="ADAL" clId="{8E769656-82DF-4740-BA14-9D4801EE0342}" dt="2023-12-11T15:06:05.594" v="11108" actId="1076"/>
          <ac:picMkLst>
            <pc:docMk/>
            <pc:sldMk cId="1018810711" sldId="344"/>
            <ac:picMk id="5" creationId="{185F3A6B-9D1B-E431-443A-F0280BCB4A8A}"/>
          </ac:picMkLst>
        </pc:picChg>
      </pc:sldChg>
      <pc:sldMasterChg chg="delSldLayout">
        <pc:chgData name="Pierre CHAVANNE" userId="2e2e2412-eb49-4787-bd3d-d17adeb25e11" providerId="ADAL" clId="{8E769656-82DF-4740-BA14-9D4801EE0342}" dt="2023-12-11T09:20:32.775" v="105" actId="47"/>
        <pc:sldMasterMkLst>
          <pc:docMk/>
          <pc:sldMasterMk cId="2894504039" sldId="2147483648"/>
        </pc:sldMasterMkLst>
        <pc:sldLayoutChg chg="del">
          <pc:chgData name="Pierre CHAVANNE" userId="2e2e2412-eb49-4787-bd3d-d17adeb25e11" providerId="ADAL" clId="{8E769656-82DF-4740-BA14-9D4801EE0342}" dt="2023-12-11T09:20:32.775" v="105" actId="47"/>
          <pc:sldLayoutMkLst>
            <pc:docMk/>
            <pc:sldMasterMk cId="2894504039" sldId="2147483648"/>
            <pc:sldLayoutMk cId="4273307515" sldId="2147483672"/>
          </pc:sldLayoutMkLst>
        </pc:sldLayoutChg>
      </pc:sldMasterChg>
    </pc:docChg>
  </pc:docChgLst>
  <pc:docChgLst>
    <pc:chgData name="Pierre CHAVANNE" userId="2e2e2412-eb49-4787-bd3d-d17adeb25e11" providerId="ADAL" clId="{785B313A-1377-449B-85BC-3F92DDC48F10}"/>
    <pc:docChg chg="undo custSel addSld delSld modSld sldOrd">
      <pc:chgData name="Pierre CHAVANNE" userId="2e2e2412-eb49-4787-bd3d-d17adeb25e11" providerId="ADAL" clId="{785B313A-1377-449B-85BC-3F92DDC48F10}" dt="2024-02-05T15:10:49.510" v="8036" actId="20577"/>
      <pc:docMkLst>
        <pc:docMk/>
      </pc:docMkLst>
      <pc:sldChg chg="modSp mod">
        <pc:chgData name="Pierre CHAVANNE" userId="2e2e2412-eb49-4787-bd3d-d17adeb25e11" providerId="ADAL" clId="{785B313A-1377-449B-85BC-3F92DDC48F10}" dt="2024-01-24T11:30:26.115" v="7950" actId="20577"/>
        <pc:sldMkLst>
          <pc:docMk/>
          <pc:sldMk cId="4082308843" sldId="262"/>
        </pc:sldMkLst>
        <pc:spChg chg="mod">
          <ac:chgData name="Pierre CHAVANNE" userId="2e2e2412-eb49-4787-bd3d-d17adeb25e11" providerId="ADAL" clId="{785B313A-1377-449B-85BC-3F92DDC48F10}" dt="2024-01-24T11:30:26.115" v="7950" actId="20577"/>
          <ac:spMkLst>
            <pc:docMk/>
            <pc:sldMk cId="4082308843" sldId="262"/>
            <ac:spMk id="4" creationId="{430F12B2-8A30-D6A2-6AC7-ABAE7B02E283}"/>
          </ac:spMkLst>
        </pc:spChg>
      </pc:sldChg>
      <pc:sldChg chg="modSp mod">
        <pc:chgData name="Pierre CHAVANNE" userId="2e2e2412-eb49-4787-bd3d-d17adeb25e11" providerId="ADAL" clId="{785B313A-1377-449B-85BC-3F92DDC48F10}" dt="2024-01-23T17:10:44.206" v="6880" actId="1076"/>
        <pc:sldMkLst>
          <pc:docMk/>
          <pc:sldMk cId="2964386278" sldId="263"/>
        </pc:sldMkLst>
        <pc:spChg chg="mod">
          <ac:chgData name="Pierre CHAVANNE" userId="2e2e2412-eb49-4787-bd3d-d17adeb25e11" providerId="ADAL" clId="{785B313A-1377-449B-85BC-3F92DDC48F10}" dt="2024-01-23T17:10:29.982" v="6867" actId="404"/>
          <ac:spMkLst>
            <pc:docMk/>
            <pc:sldMk cId="2964386278" sldId="263"/>
            <ac:spMk id="2" creationId="{280C2519-8BB3-2F7D-4555-40F725410B11}"/>
          </ac:spMkLst>
        </pc:spChg>
        <pc:spChg chg="mod">
          <ac:chgData name="Pierre CHAVANNE" userId="2e2e2412-eb49-4787-bd3d-d17adeb25e11" providerId="ADAL" clId="{785B313A-1377-449B-85BC-3F92DDC48F10}" dt="2024-01-23T17:10:44.206" v="6880" actId="1076"/>
          <ac:spMkLst>
            <pc:docMk/>
            <pc:sldMk cId="2964386278" sldId="263"/>
            <ac:spMk id="3" creationId="{26BAED19-711E-BEB5-8E19-FB66663AC2AB}"/>
          </ac:spMkLst>
        </pc:spChg>
        <pc:picChg chg="mod">
          <ac:chgData name="Pierre CHAVANNE" userId="2e2e2412-eb49-4787-bd3d-d17adeb25e11" providerId="ADAL" clId="{785B313A-1377-449B-85BC-3F92DDC48F10}" dt="2024-01-23T14:28:37.175" v="4579" actId="1076"/>
          <ac:picMkLst>
            <pc:docMk/>
            <pc:sldMk cId="2964386278" sldId="263"/>
            <ac:picMk id="12" creationId="{D292E5C9-5A15-B9AB-9DF3-5734DB7FFA03}"/>
          </ac:picMkLst>
        </pc:picChg>
      </pc:sldChg>
      <pc:sldChg chg="addSp delSp modSp mod">
        <pc:chgData name="Pierre CHAVANNE" userId="2e2e2412-eb49-4787-bd3d-d17adeb25e11" providerId="ADAL" clId="{785B313A-1377-449B-85BC-3F92DDC48F10}" dt="2024-01-24T08:45:53.935" v="6910" actId="20577"/>
        <pc:sldMkLst>
          <pc:docMk/>
          <pc:sldMk cId="181288734" sldId="264"/>
        </pc:sldMkLst>
        <pc:spChg chg="del mod">
          <ac:chgData name="Pierre CHAVANNE" userId="2e2e2412-eb49-4787-bd3d-d17adeb25e11" providerId="ADAL" clId="{785B313A-1377-449B-85BC-3F92DDC48F10}" dt="2024-01-23T10:01:09.359" v="2307" actId="478"/>
          <ac:spMkLst>
            <pc:docMk/>
            <pc:sldMk cId="181288734" sldId="264"/>
            <ac:spMk id="2" creationId="{E52B8373-62D1-544B-7A5C-41B622D6A38F}"/>
          </ac:spMkLst>
        </pc:spChg>
        <pc:spChg chg="mod">
          <ac:chgData name="Pierre CHAVANNE" userId="2e2e2412-eb49-4787-bd3d-d17adeb25e11" providerId="ADAL" clId="{785B313A-1377-449B-85BC-3F92DDC48F10}" dt="2024-01-24T08:45:53.935" v="6910" actId="20577"/>
          <ac:spMkLst>
            <pc:docMk/>
            <pc:sldMk cId="181288734" sldId="264"/>
            <ac:spMk id="4" creationId="{430F12B2-8A30-D6A2-6AC7-ABAE7B02E283}"/>
          </ac:spMkLst>
        </pc:spChg>
        <pc:spChg chg="add del mod">
          <ac:chgData name="Pierre CHAVANNE" userId="2e2e2412-eb49-4787-bd3d-d17adeb25e11" providerId="ADAL" clId="{785B313A-1377-449B-85BC-3F92DDC48F10}" dt="2024-01-23T10:01:10.613" v="2308" actId="478"/>
          <ac:spMkLst>
            <pc:docMk/>
            <pc:sldMk cId="181288734" sldId="264"/>
            <ac:spMk id="7" creationId="{2F81E413-AF15-F7E8-A6AC-D6571FCE60D0}"/>
          </ac:spMkLst>
        </pc:spChg>
        <pc:graphicFrameChg chg="add del mod modGraphic">
          <ac:chgData name="Pierre CHAVANNE" userId="2e2e2412-eb49-4787-bd3d-d17adeb25e11" providerId="ADAL" clId="{785B313A-1377-449B-85BC-3F92DDC48F10}" dt="2024-01-23T09:58:56.204" v="2209" actId="478"/>
          <ac:graphicFrameMkLst>
            <pc:docMk/>
            <pc:sldMk cId="181288734" sldId="264"/>
            <ac:graphicFrameMk id="3" creationId="{3C2197D8-1B9B-FA8D-F673-4D3B269A6988}"/>
          </ac:graphicFrameMkLst>
        </pc:graphicFrameChg>
      </pc:sldChg>
      <pc:sldChg chg="modSp del mod">
        <pc:chgData name="Pierre CHAVANNE" userId="2e2e2412-eb49-4787-bd3d-d17adeb25e11" providerId="ADAL" clId="{785B313A-1377-449B-85BC-3F92DDC48F10}" dt="2024-01-19T16:15:43.686" v="708" actId="47"/>
        <pc:sldMkLst>
          <pc:docMk/>
          <pc:sldMk cId="67575323" sldId="265"/>
        </pc:sldMkLst>
        <pc:spChg chg="mod">
          <ac:chgData name="Pierre CHAVANNE" userId="2e2e2412-eb49-4787-bd3d-d17adeb25e11" providerId="ADAL" clId="{785B313A-1377-449B-85BC-3F92DDC48F10}" dt="2024-01-19T16:12:33.659" v="534" actId="14100"/>
          <ac:spMkLst>
            <pc:docMk/>
            <pc:sldMk cId="67575323" sldId="265"/>
            <ac:spMk id="2" creationId="{E52B8373-62D1-544B-7A5C-41B622D6A38F}"/>
          </ac:spMkLst>
        </pc:spChg>
      </pc:sldChg>
      <pc:sldChg chg="del">
        <pc:chgData name="Pierre CHAVANNE" userId="2e2e2412-eb49-4787-bd3d-d17adeb25e11" providerId="ADAL" clId="{785B313A-1377-449B-85BC-3F92DDC48F10}" dt="2024-01-19T16:15:43.793" v="709" actId="47"/>
        <pc:sldMkLst>
          <pc:docMk/>
          <pc:sldMk cId="2725814262" sldId="266"/>
        </pc:sldMkLst>
      </pc:sldChg>
      <pc:sldChg chg="del">
        <pc:chgData name="Pierre CHAVANNE" userId="2e2e2412-eb49-4787-bd3d-d17adeb25e11" providerId="ADAL" clId="{785B313A-1377-449B-85BC-3F92DDC48F10}" dt="2024-01-19T16:15:44.337" v="710" actId="47"/>
        <pc:sldMkLst>
          <pc:docMk/>
          <pc:sldMk cId="4238583254" sldId="267"/>
        </pc:sldMkLst>
      </pc:sldChg>
      <pc:sldChg chg="modSp del mod ord">
        <pc:chgData name="Pierre CHAVANNE" userId="2e2e2412-eb49-4787-bd3d-d17adeb25e11" providerId="ADAL" clId="{785B313A-1377-449B-85BC-3F92DDC48F10}" dt="2024-01-19T16:17:02.116" v="837" actId="47"/>
        <pc:sldMkLst>
          <pc:docMk/>
          <pc:sldMk cId="2357043671" sldId="268"/>
        </pc:sldMkLst>
        <pc:spChg chg="mod">
          <ac:chgData name="Pierre CHAVANNE" userId="2e2e2412-eb49-4787-bd3d-d17adeb25e11" providerId="ADAL" clId="{785B313A-1377-449B-85BC-3F92DDC48F10}" dt="2024-01-19T16:04:01.340" v="169" actId="20577"/>
          <ac:spMkLst>
            <pc:docMk/>
            <pc:sldMk cId="2357043671" sldId="268"/>
            <ac:spMk id="8" creationId="{2F9FB4FF-81EC-1CDC-52DE-524663965391}"/>
          </ac:spMkLst>
        </pc:spChg>
      </pc:sldChg>
      <pc:sldChg chg="del">
        <pc:chgData name="Pierre CHAVANNE" userId="2e2e2412-eb49-4787-bd3d-d17adeb25e11" providerId="ADAL" clId="{785B313A-1377-449B-85BC-3F92DDC48F10}" dt="2024-01-19T16:15:50.321" v="714" actId="47"/>
        <pc:sldMkLst>
          <pc:docMk/>
          <pc:sldMk cId="2486415949" sldId="269"/>
        </pc:sldMkLst>
      </pc:sldChg>
      <pc:sldChg chg="del">
        <pc:chgData name="Pierre CHAVANNE" userId="2e2e2412-eb49-4787-bd3d-d17adeb25e11" providerId="ADAL" clId="{785B313A-1377-449B-85BC-3F92DDC48F10}" dt="2024-01-19T16:15:44.653" v="712" actId="47"/>
        <pc:sldMkLst>
          <pc:docMk/>
          <pc:sldMk cId="3672889325" sldId="270"/>
        </pc:sldMkLst>
      </pc:sldChg>
      <pc:sldChg chg="del">
        <pc:chgData name="Pierre CHAVANNE" userId="2e2e2412-eb49-4787-bd3d-d17adeb25e11" providerId="ADAL" clId="{785B313A-1377-449B-85BC-3F92DDC48F10}" dt="2024-01-19T16:15:48.656" v="713" actId="47"/>
        <pc:sldMkLst>
          <pc:docMk/>
          <pc:sldMk cId="4144618837" sldId="271"/>
        </pc:sldMkLst>
      </pc:sldChg>
      <pc:sldChg chg="del">
        <pc:chgData name="Pierre CHAVANNE" userId="2e2e2412-eb49-4787-bd3d-d17adeb25e11" providerId="ADAL" clId="{785B313A-1377-449B-85BC-3F92DDC48F10}" dt="2024-01-19T16:15:44.500" v="711" actId="47"/>
        <pc:sldMkLst>
          <pc:docMk/>
          <pc:sldMk cId="499594855" sldId="272"/>
        </pc:sldMkLst>
      </pc:sldChg>
      <pc:sldChg chg="del">
        <pc:chgData name="Pierre CHAVANNE" userId="2e2e2412-eb49-4787-bd3d-d17adeb25e11" providerId="ADAL" clId="{785B313A-1377-449B-85BC-3F92DDC48F10}" dt="2024-01-19T16:15:51.736" v="716" actId="47"/>
        <pc:sldMkLst>
          <pc:docMk/>
          <pc:sldMk cId="298777523" sldId="275"/>
        </pc:sldMkLst>
      </pc:sldChg>
      <pc:sldChg chg="del">
        <pc:chgData name="Pierre CHAVANNE" userId="2e2e2412-eb49-4787-bd3d-d17adeb25e11" providerId="ADAL" clId="{785B313A-1377-449B-85BC-3F92DDC48F10}" dt="2024-01-19T16:15:52.134" v="717" actId="47"/>
        <pc:sldMkLst>
          <pc:docMk/>
          <pc:sldMk cId="1172579897" sldId="276"/>
        </pc:sldMkLst>
      </pc:sldChg>
      <pc:sldChg chg="del">
        <pc:chgData name="Pierre CHAVANNE" userId="2e2e2412-eb49-4787-bd3d-d17adeb25e11" providerId="ADAL" clId="{785B313A-1377-449B-85BC-3F92DDC48F10}" dt="2024-01-19T16:15:52.420" v="718" actId="47"/>
        <pc:sldMkLst>
          <pc:docMk/>
          <pc:sldMk cId="3913948229" sldId="277"/>
        </pc:sldMkLst>
      </pc:sldChg>
      <pc:sldChg chg="del">
        <pc:chgData name="Pierre CHAVANNE" userId="2e2e2412-eb49-4787-bd3d-d17adeb25e11" providerId="ADAL" clId="{785B313A-1377-449B-85BC-3F92DDC48F10}" dt="2024-01-19T16:15:52.754" v="719" actId="47"/>
        <pc:sldMkLst>
          <pc:docMk/>
          <pc:sldMk cId="255627525" sldId="278"/>
        </pc:sldMkLst>
      </pc:sldChg>
      <pc:sldChg chg="del">
        <pc:chgData name="Pierre CHAVANNE" userId="2e2e2412-eb49-4787-bd3d-d17adeb25e11" providerId="ADAL" clId="{785B313A-1377-449B-85BC-3F92DDC48F10}" dt="2024-01-19T16:15:52.985" v="720" actId="47"/>
        <pc:sldMkLst>
          <pc:docMk/>
          <pc:sldMk cId="2495300835" sldId="279"/>
        </pc:sldMkLst>
      </pc:sldChg>
      <pc:sldChg chg="del">
        <pc:chgData name="Pierre CHAVANNE" userId="2e2e2412-eb49-4787-bd3d-d17adeb25e11" providerId="ADAL" clId="{785B313A-1377-449B-85BC-3F92DDC48F10}" dt="2024-01-19T16:15:53.295" v="721" actId="47"/>
        <pc:sldMkLst>
          <pc:docMk/>
          <pc:sldMk cId="39061736" sldId="280"/>
        </pc:sldMkLst>
      </pc:sldChg>
      <pc:sldChg chg="del">
        <pc:chgData name="Pierre CHAVANNE" userId="2e2e2412-eb49-4787-bd3d-d17adeb25e11" providerId="ADAL" clId="{785B313A-1377-449B-85BC-3F92DDC48F10}" dt="2024-01-19T16:15:53.502" v="722" actId="47"/>
        <pc:sldMkLst>
          <pc:docMk/>
          <pc:sldMk cId="968674742" sldId="281"/>
        </pc:sldMkLst>
      </pc:sldChg>
      <pc:sldChg chg="del">
        <pc:chgData name="Pierre CHAVANNE" userId="2e2e2412-eb49-4787-bd3d-d17adeb25e11" providerId="ADAL" clId="{785B313A-1377-449B-85BC-3F92DDC48F10}" dt="2024-01-19T16:15:53.837" v="723" actId="47"/>
        <pc:sldMkLst>
          <pc:docMk/>
          <pc:sldMk cId="145152880" sldId="282"/>
        </pc:sldMkLst>
      </pc:sldChg>
      <pc:sldChg chg="del">
        <pc:chgData name="Pierre CHAVANNE" userId="2e2e2412-eb49-4787-bd3d-d17adeb25e11" providerId="ADAL" clId="{785B313A-1377-449B-85BC-3F92DDC48F10}" dt="2024-01-19T16:15:54.037" v="724" actId="47"/>
        <pc:sldMkLst>
          <pc:docMk/>
          <pc:sldMk cId="2422762125" sldId="283"/>
        </pc:sldMkLst>
      </pc:sldChg>
      <pc:sldChg chg="del">
        <pc:chgData name="Pierre CHAVANNE" userId="2e2e2412-eb49-4787-bd3d-d17adeb25e11" providerId="ADAL" clId="{785B313A-1377-449B-85BC-3F92DDC48F10}" dt="2024-01-19T16:15:55.904" v="731" actId="47"/>
        <pc:sldMkLst>
          <pc:docMk/>
          <pc:sldMk cId="2982571789" sldId="288"/>
        </pc:sldMkLst>
      </pc:sldChg>
      <pc:sldChg chg="del">
        <pc:chgData name="Pierre CHAVANNE" userId="2e2e2412-eb49-4787-bd3d-d17adeb25e11" providerId="ADAL" clId="{785B313A-1377-449B-85BC-3F92DDC48F10}" dt="2024-01-19T16:16:00.287" v="753" actId="47"/>
        <pc:sldMkLst>
          <pc:docMk/>
          <pc:sldMk cId="1004113706" sldId="309"/>
        </pc:sldMkLst>
      </pc:sldChg>
      <pc:sldChg chg="add del ord">
        <pc:chgData name="Pierre CHAVANNE" userId="2e2e2412-eb49-4787-bd3d-d17adeb25e11" providerId="ADAL" clId="{785B313A-1377-449B-85BC-3F92DDC48F10}" dt="2024-01-23T17:09:55.857" v="6833" actId="47"/>
        <pc:sldMkLst>
          <pc:docMk/>
          <pc:sldMk cId="2745529957" sldId="311"/>
        </pc:sldMkLst>
      </pc:sldChg>
      <pc:sldChg chg="del">
        <pc:chgData name="Pierre CHAVANNE" userId="2e2e2412-eb49-4787-bd3d-d17adeb25e11" providerId="ADAL" clId="{785B313A-1377-449B-85BC-3F92DDC48F10}" dt="2024-01-19T16:15:51.354" v="715" actId="47"/>
        <pc:sldMkLst>
          <pc:docMk/>
          <pc:sldMk cId="160292422" sldId="313"/>
        </pc:sldMkLst>
      </pc:sldChg>
      <pc:sldChg chg="del">
        <pc:chgData name="Pierre CHAVANNE" userId="2e2e2412-eb49-4787-bd3d-d17adeb25e11" providerId="ADAL" clId="{785B313A-1377-449B-85BC-3F92DDC48F10}" dt="2024-01-19T16:15:56.787" v="734" actId="47"/>
        <pc:sldMkLst>
          <pc:docMk/>
          <pc:sldMk cId="3368016770" sldId="314"/>
        </pc:sldMkLst>
      </pc:sldChg>
      <pc:sldChg chg="del">
        <pc:chgData name="Pierre CHAVANNE" userId="2e2e2412-eb49-4787-bd3d-d17adeb25e11" providerId="ADAL" clId="{785B313A-1377-449B-85BC-3F92DDC48F10}" dt="2024-01-19T16:15:54.475" v="726" actId="47"/>
        <pc:sldMkLst>
          <pc:docMk/>
          <pc:sldMk cId="2249207064" sldId="319"/>
        </pc:sldMkLst>
      </pc:sldChg>
      <pc:sldChg chg="del">
        <pc:chgData name="Pierre CHAVANNE" userId="2e2e2412-eb49-4787-bd3d-d17adeb25e11" providerId="ADAL" clId="{785B313A-1377-449B-85BC-3F92DDC48F10}" dt="2024-01-19T16:15:54.654" v="727" actId="47"/>
        <pc:sldMkLst>
          <pc:docMk/>
          <pc:sldMk cId="595425293" sldId="320"/>
        </pc:sldMkLst>
      </pc:sldChg>
      <pc:sldChg chg="del">
        <pc:chgData name="Pierre CHAVANNE" userId="2e2e2412-eb49-4787-bd3d-d17adeb25e11" providerId="ADAL" clId="{785B313A-1377-449B-85BC-3F92DDC48F10}" dt="2024-01-19T16:15:54.870" v="728" actId="47"/>
        <pc:sldMkLst>
          <pc:docMk/>
          <pc:sldMk cId="304592153" sldId="321"/>
        </pc:sldMkLst>
      </pc:sldChg>
      <pc:sldChg chg="del">
        <pc:chgData name="Pierre CHAVANNE" userId="2e2e2412-eb49-4787-bd3d-d17adeb25e11" providerId="ADAL" clId="{785B313A-1377-449B-85BC-3F92DDC48F10}" dt="2024-01-19T16:15:55.085" v="729" actId="47"/>
        <pc:sldMkLst>
          <pc:docMk/>
          <pc:sldMk cId="219234302" sldId="322"/>
        </pc:sldMkLst>
      </pc:sldChg>
      <pc:sldChg chg="del">
        <pc:chgData name="Pierre CHAVANNE" userId="2e2e2412-eb49-4787-bd3d-d17adeb25e11" providerId="ADAL" clId="{785B313A-1377-449B-85BC-3F92DDC48F10}" dt="2024-01-19T16:15:56.042" v="732" actId="47"/>
        <pc:sldMkLst>
          <pc:docMk/>
          <pc:sldMk cId="2955322825" sldId="323"/>
        </pc:sldMkLst>
      </pc:sldChg>
      <pc:sldChg chg="del">
        <pc:chgData name="Pierre CHAVANNE" userId="2e2e2412-eb49-4787-bd3d-d17adeb25e11" providerId="ADAL" clId="{785B313A-1377-449B-85BC-3F92DDC48F10}" dt="2024-01-19T16:15:56.189" v="733" actId="47"/>
        <pc:sldMkLst>
          <pc:docMk/>
          <pc:sldMk cId="3873716323" sldId="324"/>
        </pc:sldMkLst>
      </pc:sldChg>
      <pc:sldChg chg="del">
        <pc:chgData name="Pierre CHAVANNE" userId="2e2e2412-eb49-4787-bd3d-d17adeb25e11" providerId="ADAL" clId="{785B313A-1377-449B-85BC-3F92DDC48F10}" dt="2024-01-19T16:15:54.254" v="725" actId="47"/>
        <pc:sldMkLst>
          <pc:docMk/>
          <pc:sldMk cId="2450472586" sldId="325"/>
        </pc:sldMkLst>
      </pc:sldChg>
      <pc:sldChg chg="del">
        <pc:chgData name="Pierre CHAVANNE" userId="2e2e2412-eb49-4787-bd3d-d17adeb25e11" providerId="ADAL" clId="{785B313A-1377-449B-85BC-3F92DDC48F10}" dt="2024-01-19T16:15:56.928" v="735" actId="47"/>
        <pc:sldMkLst>
          <pc:docMk/>
          <pc:sldMk cId="2789460190" sldId="326"/>
        </pc:sldMkLst>
      </pc:sldChg>
      <pc:sldChg chg="del">
        <pc:chgData name="Pierre CHAVANNE" userId="2e2e2412-eb49-4787-bd3d-d17adeb25e11" providerId="ADAL" clId="{785B313A-1377-449B-85BC-3F92DDC48F10}" dt="2024-01-19T16:15:57.129" v="736" actId="47"/>
        <pc:sldMkLst>
          <pc:docMk/>
          <pc:sldMk cId="651240368" sldId="327"/>
        </pc:sldMkLst>
      </pc:sldChg>
      <pc:sldChg chg="del">
        <pc:chgData name="Pierre CHAVANNE" userId="2e2e2412-eb49-4787-bd3d-d17adeb25e11" providerId="ADAL" clId="{785B313A-1377-449B-85BC-3F92DDC48F10}" dt="2024-01-19T16:15:57.670" v="737" actId="47"/>
        <pc:sldMkLst>
          <pc:docMk/>
          <pc:sldMk cId="4050209955" sldId="328"/>
        </pc:sldMkLst>
      </pc:sldChg>
      <pc:sldChg chg="del">
        <pc:chgData name="Pierre CHAVANNE" userId="2e2e2412-eb49-4787-bd3d-d17adeb25e11" providerId="ADAL" clId="{785B313A-1377-449B-85BC-3F92DDC48F10}" dt="2024-01-19T16:15:57.995" v="738" actId="47"/>
        <pc:sldMkLst>
          <pc:docMk/>
          <pc:sldMk cId="1618847890" sldId="329"/>
        </pc:sldMkLst>
      </pc:sldChg>
      <pc:sldChg chg="del">
        <pc:chgData name="Pierre CHAVANNE" userId="2e2e2412-eb49-4787-bd3d-d17adeb25e11" providerId="ADAL" clId="{785B313A-1377-449B-85BC-3F92DDC48F10}" dt="2024-01-19T16:15:58.101" v="739" actId="47"/>
        <pc:sldMkLst>
          <pc:docMk/>
          <pc:sldMk cId="1072247607" sldId="330"/>
        </pc:sldMkLst>
      </pc:sldChg>
      <pc:sldChg chg="del">
        <pc:chgData name="Pierre CHAVANNE" userId="2e2e2412-eb49-4787-bd3d-d17adeb25e11" providerId="ADAL" clId="{785B313A-1377-449B-85BC-3F92DDC48F10}" dt="2024-01-19T16:15:58.286" v="740" actId="47"/>
        <pc:sldMkLst>
          <pc:docMk/>
          <pc:sldMk cId="184226453" sldId="331"/>
        </pc:sldMkLst>
      </pc:sldChg>
      <pc:sldChg chg="del">
        <pc:chgData name="Pierre CHAVANNE" userId="2e2e2412-eb49-4787-bd3d-d17adeb25e11" providerId="ADAL" clId="{785B313A-1377-449B-85BC-3F92DDC48F10}" dt="2024-01-19T16:15:58.386" v="741" actId="47"/>
        <pc:sldMkLst>
          <pc:docMk/>
          <pc:sldMk cId="1974310555" sldId="332"/>
        </pc:sldMkLst>
      </pc:sldChg>
      <pc:sldChg chg="del">
        <pc:chgData name="Pierre CHAVANNE" userId="2e2e2412-eb49-4787-bd3d-d17adeb25e11" providerId="ADAL" clId="{785B313A-1377-449B-85BC-3F92DDC48F10}" dt="2024-01-19T16:15:58.585" v="742" actId="47"/>
        <pc:sldMkLst>
          <pc:docMk/>
          <pc:sldMk cId="1673591059" sldId="333"/>
        </pc:sldMkLst>
      </pc:sldChg>
      <pc:sldChg chg="del">
        <pc:chgData name="Pierre CHAVANNE" userId="2e2e2412-eb49-4787-bd3d-d17adeb25e11" providerId="ADAL" clId="{785B313A-1377-449B-85BC-3F92DDC48F10}" dt="2024-01-19T16:15:58.736" v="743" actId="47"/>
        <pc:sldMkLst>
          <pc:docMk/>
          <pc:sldMk cId="3056355830" sldId="334"/>
        </pc:sldMkLst>
      </pc:sldChg>
      <pc:sldChg chg="del">
        <pc:chgData name="Pierre CHAVANNE" userId="2e2e2412-eb49-4787-bd3d-d17adeb25e11" providerId="ADAL" clId="{785B313A-1377-449B-85BC-3F92DDC48F10}" dt="2024-01-19T16:15:58.887" v="744" actId="47"/>
        <pc:sldMkLst>
          <pc:docMk/>
          <pc:sldMk cId="3121028424" sldId="335"/>
        </pc:sldMkLst>
      </pc:sldChg>
      <pc:sldChg chg="del">
        <pc:chgData name="Pierre CHAVANNE" userId="2e2e2412-eb49-4787-bd3d-d17adeb25e11" providerId="ADAL" clId="{785B313A-1377-449B-85BC-3F92DDC48F10}" dt="2024-01-19T16:15:59.062" v="745" actId="47"/>
        <pc:sldMkLst>
          <pc:docMk/>
          <pc:sldMk cId="3966347907" sldId="336"/>
        </pc:sldMkLst>
      </pc:sldChg>
      <pc:sldChg chg="del">
        <pc:chgData name="Pierre CHAVANNE" userId="2e2e2412-eb49-4787-bd3d-d17adeb25e11" providerId="ADAL" clId="{785B313A-1377-449B-85BC-3F92DDC48F10}" dt="2024-01-19T16:15:59.520" v="748" actId="47"/>
        <pc:sldMkLst>
          <pc:docMk/>
          <pc:sldMk cId="96396930" sldId="337"/>
        </pc:sldMkLst>
      </pc:sldChg>
      <pc:sldChg chg="del">
        <pc:chgData name="Pierre CHAVANNE" userId="2e2e2412-eb49-4787-bd3d-d17adeb25e11" providerId="ADAL" clId="{785B313A-1377-449B-85BC-3F92DDC48F10}" dt="2024-01-19T16:15:59.188" v="746" actId="47"/>
        <pc:sldMkLst>
          <pc:docMk/>
          <pc:sldMk cId="2969756454" sldId="338"/>
        </pc:sldMkLst>
      </pc:sldChg>
      <pc:sldChg chg="del">
        <pc:chgData name="Pierre CHAVANNE" userId="2e2e2412-eb49-4787-bd3d-d17adeb25e11" providerId="ADAL" clId="{785B313A-1377-449B-85BC-3F92DDC48F10}" dt="2024-01-19T16:15:59.342" v="747" actId="47"/>
        <pc:sldMkLst>
          <pc:docMk/>
          <pc:sldMk cId="3712497180" sldId="339"/>
        </pc:sldMkLst>
      </pc:sldChg>
      <pc:sldChg chg="del">
        <pc:chgData name="Pierre CHAVANNE" userId="2e2e2412-eb49-4787-bd3d-d17adeb25e11" providerId="ADAL" clId="{785B313A-1377-449B-85BC-3F92DDC48F10}" dt="2024-01-19T16:15:59.843" v="750" actId="47"/>
        <pc:sldMkLst>
          <pc:docMk/>
          <pc:sldMk cId="2553264670" sldId="340"/>
        </pc:sldMkLst>
      </pc:sldChg>
      <pc:sldChg chg="del">
        <pc:chgData name="Pierre CHAVANNE" userId="2e2e2412-eb49-4787-bd3d-d17adeb25e11" providerId="ADAL" clId="{785B313A-1377-449B-85BC-3F92DDC48F10}" dt="2024-01-19T16:15:59.953" v="751" actId="47"/>
        <pc:sldMkLst>
          <pc:docMk/>
          <pc:sldMk cId="159668005" sldId="341"/>
        </pc:sldMkLst>
      </pc:sldChg>
      <pc:sldChg chg="del">
        <pc:chgData name="Pierre CHAVANNE" userId="2e2e2412-eb49-4787-bd3d-d17adeb25e11" providerId="ADAL" clId="{785B313A-1377-449B-85BC-3F92DDC48F10}" dt="2024-01-19T16:16:00.104" v="752" actId="47"/>
        <pc:sldMkLst>
          <pc:docMk/>
          <pc:sldMk cId="288494447" sldId="342"/>
        </pc:sldMkLst>
      </pc:sldChg>
      <pc:sldChg chg="del">
        <pc:chgData name="Pierre CHAVANNE" userId="2e2e2412-eb49-4787-bd3d-d17adeb25e11" providerId="ADAL" clId="{785B313A-1377-449B-85BC-3F92DDC48F10}" dt="2024-01-19T16:15:55.688" v="730" actId="47"/>
        <pc:sldMkLst>
          <pc:docMk/>
          <pc:sldMk cId="2179127919" sldId="343"/>
        </pc:sldMkLst>
      </pc:sldChg>
      <pc:sldChg chg="del">
        <pc:chgData name="Pierre CHAVANNE" userId="2e2e2412-eb49-4787-bd3d-d17adeb25e11" providerId="ADAL" clId="{785B313A-1377-449B-85BC-3F92DDC48F10}" dt="2024-01-19T16:15:59.658" v="749" actId="47"/>
        <pc:sldMkLst>
          <pc:docMk/>
          <pc:sldMk cId="1018810711" sldId="344"/>
        </pc:sldMkLst>
      </pc:sldChg>
      <pc:sldChg chg="addSp delSp modSp add mod ord">
        <pc:chgData name="Pierre CHAVANNE" userId="2e2e2412-eb49-4787-bd3d-d17adeb25e11" providerId="ADAL" clId="{785B313A-1377-449B-85BC-3F92DDC48F10}" dt="2024-01-24T08:49:18.359" v="6912" actId="20577"/>
        <pc:sldMkLst>
          <pc:docMk/>
          <pc:sldMk cId="3009670697" sldId="345"/>
        </pc:sldMkLst>
        <pc:spChg chg="mod">
          <ac:chgData name="Pierre CHAVANNE" userId="2e2e2412-eb49-4787-bd3d-d17adeb25e11" providerId="ADAL" clId="{785B313A-1377-449B-85BC-3F92DDC48F10}" dt="2024-01-23T17:09:33.731" v="6812" actId="6549"/>
          <ac:spMkLst>
            <pc:docMk/>
            <pc:sldMk cId="3009670697" sldId="345"/>
            <ac:spMk id="2" creationId="{E52B8373-62D1-544B-7A5C-41B622D6A38F}"/>
          </ac:spMkLst>
        </pc:spChg>
        <pc:spChg chg="mod">
          <ac:chgData name="Pierre CHAVANNE" userId="2e2e2412-eb49-4787-bd3d-d17adeb25e11" providerId="ADAL" clId="{785B313A-1377-449B-85BC-3F92DDC48F10}" dt="2024-01-24T08:49:18.359" v="6912" actId="20577"/>
          <ac:spMkLst>
            <pc:docMk/>
            <pc:sldMk cId="3009670697" sldId="345"/>
            <ac:spMk id="4" creationId="{430F12B2-8A30-D6A2-6AC7-ABAE7B02E283}"/>
          </ac:spMkLst>
        </pc:spChg>
        <pc:graphicFrameChg chg="add mod modGraphic">
          <ac:chgData name="Pierre CHAVANNE" userId="2e2e2412-eb49-4787-bd3d-d17adeb25e11" providerId="ADAL" clId="{785B313A-1377-449B-85BC-3F92DDC48F10}" dt="2024-01-23T15:48:14.892" v="5686" actId="1076"/>
          <ac:graphicFrameMkLst>
            <pc:docMk/>
            <pc:sldMk cId="3009670697" sldId="345"/>
            <ac:graphicFrameMk id="3" creationId="{260BD59A-2BE9-D45D-5F46-BCFAC1309380}"/>
          </ac:graphicFrameMkLst>
        </pc:graphicFrameChg>
        <pc:graphicFrameChg chg="del">
          <ac:chgData name="Pierre CHAVANNE" userId="2e2e2412-eb49-4787-bd3d-d17adeb25e11" providerId="ADAL" clId="{785B313A-1377-449B-85BC-3F92DDC48F10}" dt="2024-01-19T16:13:33.157" v="556" actId="478"/>
          <ac:graphicFrameMkLst>
            <pc:docMk/>
            <pc:sldMk cId="3009670697" sldId="345"/>
            <ac:graphicFrameMk id="3" creationId="{3C2197D8-1B9B-FA8D-F673-4D3B269A6988}"/>
          </ac:graphicFrameMkLst>
        </pc:graphicFrameChg>
        <pc:picChg chg="add mod modCrop">
          <ac:chgData name="Pierre CHAVANNE" userId="2e2e2412-eb49-4787-bd3d-d17adeb25e11" providerId="ADAL" clId="{785B313A-1377-449B-85BC-3F92DDC48F10}" dt="2024-01-23T09:59:58.520" v="2248" actId="1076"/>
          <ac:picMkLst>
            <pc:docMk/>
            <pc:sldMk cId="3009670697" sldId="345"/>
            <ac:picMk id="7" creationId="{9EE90239-B66A-07AF-ADDE-5A9A068B4357}"/>
          </ac:picMkLst>
        </pc:picChg>
      </pc:sldChg>
      <pc:sldChg chg="addSp modSp add mod">
        <pc:chgData name="Pierre CHAVANNE" userId="2e2e2412-eb49-4787-bd3d-d17adeb25e11" providerId="ADAL" clId="{785B313A-1377-449B-85BC-3F92DDC48F10}" dt="2024-01-24T08:39:14.910" v="6888" actId="1076"/>
        <pc:sldMkLst>
          <pc:docMk/>
          <pc:sldMk cId="3556691415" sldId="346"/>
        </pc:sldMkLst>
        <pc:spChg chg="mod">
          <ac:chgData name="Pierre CHAVANNE" userId="2e2e2412-eb49-4787-bd3d-d17adeb25e11" providerId="ADAL" clId="{785B313A-1377-449B-85BC-3F92DDC48F10}" dt="2024-01-23T14:24:02.898" v="4386" actId="20577"/>
          <ac:spMkLst>
            <pc:docMk/>
            <pc:sldMk cId="3556691415" sldId="346"/>
            <ac:spMk id="2" creationId="{E52B8373-62D1-544B-7A5C-41B622D6A38F}"/>
          </ac:spMkLst>
        </pc:spChg>
        <pc:spChg chg="mod">
          <ac:chgData name="Pierre CHAVANNE" userId="2e2e2412-eb49-4787-bd3d-d17adeb25e11" providerId="ADAL" clId="{785B313A-1377-449B-85BC-3F92DDC48F10}" dt="2024-01-24T08:39:09.711" v="6886" actId="1076"/>
          <ac:spMkLst>
            <pc:docMk/>
            <pc:sldMk cId="3556691415" sldId="346"/>
            <ac:spMk id="4" creationId="{430F12B2-8A30-D6A2-6AC7-ABAE7B02E283}"/>
          </ac:spMkLst>
        </pc:spChg>
        <pc:picChg chg="add mod">
          <ac:chgData name="Pierre CHAVANNE" userId="2e2e2412-eb49-4787-bd3d-d17adeb25e11" providerId="ADAL" clId="{785B313A-1377-449B-85BC-3F92DDC48F10}" dt="2024-01-24T08:39:14.910" v="6888" actId="1076"/>
          <ac:picMkLst>
            <pc:docMk/>
            <pc:sldMk cId="3556691415" sldId="346"/>
            <ac:picMk id="5" creationId="{9F33D193-BE6A-DE62-4270-04469410F8DF}"/>
          </ac:picMkLst>
        </pc:picChg>
      </pc:sldChg>
      <pc:sldChg chg="modSp add mod">
        <pc:chgData name="Pierre CHAVANNE" userId="2e2e2412-eb49-4787-bd3d-d17adeb25e11" providerId="ADAL" clId="{785B313A-1377-449B-85BC-3F92DDC48F10}" dt="2024-01-23T12:45:18.679" v="4200" actId="20577"/>
        <pc:sldMkLst>
          <pc:docMk/>
          <pc:sldMk cId="3390067061" sldId="347"/>
        </pc:sldMkLst>
        <pc:spChg chg="mod">
          <ac:chgData name="Pierre CHAVANNE" userId="2e2e2412-eb49-4787-bd3d-d17adeb25e11" providerId="ADAL" clId="{785B313A-1377-449B-85BC-3F92DDC48F10}" dt="2024-01-19T16:15:09.573" v="688" actId="20577"/>
          <ac:spMkLst>
            <pc:docMk/>
            <pc:sldMk cId="3390067061" sldId="347"/>
            <ac:spMk id="2" creationId="{E52B8373-62D1-544B-7A5C-41B622D6A38F}"/>
          </ac:spMkLst>
        </pc:spChg>
        <pc:spChg chg="mod">
          <ac:chgData name="Pierre CHAVANNE" userId="2e2e2412-eb49-4787-bd3d-d17adeb25e11" providerId="ADAL" clId="{785B313A-1377-449B-85BC-3F92DDC48F10}" dt="2024-01-23T12:45:18.679" v="4200" actId="20577"/>
          <ac:spMkLst>
            <pc:docMk/>
            <pc:sldMk cId="3390067061" sldId="347"/>
            <ac:spMk id="4" creationId="{430F12B2-8A30-D6A2-6AC7-ABAE7B02E283}"/>
          </ac:spMkLst>
        </pc:spChg>
      </pc:sldChg>
      <pc:sldChg chg="addSp delSp modSp add mod">
        <pc:chgData name="Pierre CHAVANNE" userId="2e2e2412-eb49-4787-bd3d-d17adeb25e11" providerId="ADAL" clId="{785B313A-1377-449B-85BC-3F92DDC48F10}" dt="2024-01-23T12:45:28.980" v="4203"/>
        <pc:sldMkLst>
          <pc:docMk/>
          <pc:sldMk cId="277130759" sldId="348"/>
        </pc:sldMkLst>
        <pc:spChg chg="mod">
          <ac:chgData name="Pierre CHAVANNE" userId="2e2e2412-eb49-4787-bd3d-d17adeb25e11" providerId="ADAL" clId="{785B313A-1377-449B-85BC-3F92DDC48F10}" dt="2024-01-19T16:15:21.514" v="702" actId="20577"/>
          <ac:spMkLst>
            <pc:docMk/>
            <pc:sldMk cId="277130759" sldId="348"/>
            <ac:spMk id="2" creationId="{E52B8373-62D1-544B-7A5C-41B622D6A38F}"/>
          </ac:spMkLst>
        </pc:spChg>
        <pc:spChg chg="del">
          <ac:chgData name="Pierre CHAVANNE" userId="2e2e2412-eb49-4787-bd3d-d17adeb25e11" providerId="ADAL" clId="{785B313A-1377-449B-85BC-3F92DDC48F10}" dt="2024-01-23T12:45:26.180" v="4201" actId="478"/>
          <ac:spMkLst>
            <pc:docMk/>
            <pc:sldMk cId="277130759" sldId="348"/>
            <ac:spMk id="4" creationId="{430F12B2-8A30-D6A2-6AC7-ABAE7B02E283}"/>
          </ac:spMkLst>
        </pc:spChg>
        <pc:spChg chg="add del mod">
          <ac:chgData name="Pierre CHAVANNE" userId="2e2e2412-eb49-4787-bd3d-d17adeb25e11" providerId="ADAL" clId="{785B313A-1377-449B-85BC-3F92DDC48F10}" dt="2024-01-23T12:45:28.712" v="4202" actId="478"/>
          <ac:spMkLst>
            <pc:docMk/>
            <pc:sldMk cId="277130759" sldId="348"/>
            <ac:spMk id="5" creationId="{52929389-5D92-77DD-E74E-AF981D3C40E4}"/>
          </ac:spMkLst>
        </pc:spChg>
        <pc:spChg chg="add mod">
          <ac:chgData name="Pierre CHAVANNE" userId="2e2e2412-eb49-4787-bd3d-d17adeb25e11" providerId="ADAL" clId="{785B313A-1377-449B-85BC-3F92DDC48F10}" dt="2024-01-23T12:45:28.980" v="4203"/>
          <ac:spMkLst>
            <pc:docMk/>
            <pc:sldMk cId="277130759" sldId="348"/>
            <ac:spMk id="7" creationId="{26BEDE08-447E-F5B1-C14D-F87FEB0BF9A2}"/>
          </ac:spMkLst>
        </pc:spChg>
      </pc:sldChg>
      <pc:sldChg chg="addSp modSp add mod ord">
        <pc:chgData name="Pierre CHAVANNE" userId="2e2e2412-eb49-4787-bd3d-d17adeb25e11" providerId="ADAL" clId="{785B313A-1377-449B-85BC-3F92DDC48F10}" dt="2024-01-23T16:14:49.066" v="5938" actId="1076"/>
        <pc:sldMkLst>
          <pc:docMk/>
          <pc:sldMk cId="1714316781" sldId="349"/>
        </pc:sldMkLst>
        <pc:spChg chg="mod">
          <ac:chgData name="Pierre CHAVANNE" userId="2e2e2412-eb49-4787-bd3d-d17adeb25e11" providerId="ADAL" clId="{785B313A-1377-449B-85BC-3F92DDC48F10}" dt="2024-01-23T14:32:59.688" v="4610" actId="20577"/>
          <ac:spMkLst>
            <pc:docMk/>
            <pc:sldMk cId="1714316781" sldId="349"/>
            <ac:spMk id="2" creationId="{E52B8373-62D1-544B-7A5C-41B622D6A38F}"/>
          </ac:spMkLst>
        </pc:spChg>
        <pc:spChg chg="add mod">
          <ac:chgData name="Pierre CHAVANNE" userId="2e2e2412-eb49-4787-bd3d-d17adeb25e11" providerId="ADAL" clId="{785B313A-1377-449B-85BC-3F92DDC48F10}" dt="2024-01-23T16:14:18.980" v="5933" actId="1076"/>
          <ac:spMkLst>
            <pc:docMk/>
            <pc:sldMk cId="1714316781" sldId="349"/>
            <ac:spMk id="3" creationId="{AA7CAF7A-0585-6831-84DC-15E8F4C9FB7D}"/>
          </ac:spMkLst>
        </pc:spChg>
        <pc:spChg chg="mod">
          <ac:chgData name="Pierre CHAVANNE" userId="2e2e2412-eb49-4787-bd3d-d17adeb25e11" providerId="ADAL" clId="{785B313A-1377-449B-85BC-3F92DDC48F10}" dt="2024-01-23T16:14:49.066" v="5938" actId="1076"/>
          <ac:spMkLst>
            <pc:docMk/>
            <pc:sldMk cId="1714316781" sldId="349"/>
            <ac:spMk id="4" creationId="{430F12B2-8A30-D6A2-6AC7-ABAE7B02E283}"/>
          </ac:spMkLst>
        </pc:spChg>
        <pc:spChg chg="add mod">
          <ac:chgData name="Pierre CHAVANNE" userId="2e2e2412-eb49-4787-bd3d-d17adeb25e11" providerId="ADAL" clId="{785B313A-1377-449B-85BC-3F92DDC48F10}" dt="2024-01-23T16:14:18.980" v="5933" actId="1076"/>
          <ac:spMkLst>
            <pc:docMk/>
            <pc:sldMk cId="1714316781" sldId="349"/>
            <ac:spMk id="5" creationId="{E1E1F3EE-FA2C-4262-C8D5-745E992EEEE6}"/>
          </ac:spMkLst>
        </pc:spChg>
        <pc:spChg chg="add mod">
          <ac:chgData name="Pierre CHAVANNE" userId="2e2e2412-eb49-4787-bd3d-d17adeb25e11" providerId="ADAL" clId="{785B313A-1377-449B-85BC-3F92DDC48F10}" dt="2024-01-23T16:14:27.582" v="5935" actId="1076"/>
          <ac:spMkLst>
            <pc:docMk/>
            <pc:sldMk cId="1714316781" sldId="349"/>
            <ac:spMk id="7" creationId="{1E330B7F-28FD-FA44-DA35-02BDE5DCBF2C}"/>
          </ac:spMkLst>
        </pc:spChg>
        <pc:spChg chg="add mod">
          <ac:chgData name="Pierre CHAVANNE" userId="2e2e2412-eb49-4787-bd3d-d17adeb25e11" providerId="ADAL" clId="{785B313A-1377-449B-85BC-3F92DDC48F10}" dt="2024-01-23T16:14:36.663" v="5937" actId="1076"/>
          <ac:spMkLst>
            <pc:docMk/>
            <pc:sldMk cId="1714316781" sldId="349"/>
            <ac:spMk id="8" creationId="{C55B637D-3805-AF94-79D9-92B6A83B1CE8}"/>
          </ac:spMkLst>
        </pc:spChg>
        <pc:spChg chg="add mod">
          <ac:chgData name="Pierre CHAVANNE" userId="2e2e2412-eb49-4787-bd3d-d17adeb25e11" providerId="ADAL" clId="{785B313A-1377-449B-85BC-3F92DDC48F10}" dt="2024-01-23T16:14:18.980" v="5933" actId="1076"/>
          <ac:spMkLst>
            <pc:docMk/>
            <pc:sldMk cId="1714316781" sldId="349"/>
            <ac:spMk id="9" creationId="{40CD7FF9-6848-59BF-7106-EB70CF3803F2}"/>
          </ac:spMkLst>
        </pc:spChg>
      </pc:sldChg>
      <pc:sldChg chg="delSp modSp add del mod">
        <pc:chgData name="Pierre CHAVANNE" userId="2e2e2412-eb49-4787-bd3d-d17adeb25e11" providerId="ADAL" clId="{785B313A-1377-449B-85BC-3F92DDC48F10}" dt="2024-01-23T17:08:43.313" v="6689" actId="47"/>
        <pc:sldMkLst>
          <pc:docMk/>
          <pc:sldMk cId="3174316311" sldId="350"/>
        </pc:sldMkLst>
        <pc:spChg chg="mod">
          <ac:chgData name="Pierre CHAVANNE" userId="2e2e2412-eb49-4787-bd3d-d17adeb25e11" providerId="ADAL" clId="{785B313A-1377-449B-85BC-3F92DDC48F10}" dt="2024-01-23T14:25:01.109" v="4480" actId="20577"/>
          <ac:spMkLst>
            <pc:docMk/>
            <pc:sldMk cId="3174316311" sldId="350"/>
            <ac:spMk id="2" creationId="{E52B8373-62D1-544B-7A5C-41B622D6A38F}"/>
          </ac:spMkLst>
        </pc:spChg>
        <pc:spChg chg="mod">
          <ac:chgData name="Pierre CHAVANNE" userId="2e2e2412-eb49-4787-bd3d-d17adeb25e11" providerId="ADAL" clId="{785B313A-1377-449B-85BC-3F92DDC48F10}" dt="2024-01-23T14:25:03.606" v="4483" actId="20577"/>
          <ac:spMkLst>
            <pc:docMk/>
            <pc:sldMk cId="3174316311" sldId="350"/>
            <ac:spMk id="8" creationId="{15A4040C-50A3-5593-AB6E-492E3D6866BA}"/>
          </ac:spMkLst>
        </pc:spChg>
        <pc:picChg chg="del">
          <ac:chgData name="Pierre CHAVANNE" userId="2e2e2412-eb49-4787-bd3d-d17adeb25e11" providerId="ADAL" clId="{785B313A-1377-449B-85BC-3F92DDC48F10}" dt="2024-01-23T14:25:04.776" v="4484" actId="478"/>
          <ac:picMkLst>
            <pc:docMk/>
            <pc:sldMk cId="3174316311" sldId="350"/>
            <ac:picMk id="12" creationId="{57CB0D8F-857D-FD6C-FC26-0976A3D671B6}"/>
          </ac:picMkLst>
        </pc:picChg>
        <pc:picChg chg="del">
          <ac:chgData name="Pierre CHAVANNE" userId="2e2e2412-eb49-4787-bd3d-d17adeb25e11" providerId="ADAL" clId="{785B313A-1377-449B-85BC-3F92DDC48F10}" dt="2024-01-23T14:25:05.310" v="4485" actId="478"/>
          <ac:picMkLst>
            <pc:docMk/>
            <pc:sldMk cId="3174316311" sldId="350"/>
            <ac:picMk id="13" creationId="{DD2F2E39-B36D-7D3D-A07F-F405396398C0}"/>
          </ac:picMkLst>
        </pc:picChg>
        <pc:picChg chg="del mod">
          <ac:chgData name="Pierre CHAVANNE" userId="2e2e2412-eb49-4787-bd3d-d17adeb25e11" providerId="ADAL" clId="{785B313A-1377-449B-85BC-3F92DDC48F10}" dt="2024-01-23T14:25:05.779" v="4487" actId="478"/>
          <ac:picMkLst>
            <pc:docMk/>
            <pc:sldMk cId="3174316311" sldId="350"/>
            <ac:picMk id="15" creationId="{46362E79-B6B3-786B-2E38-5B07EC4CC2A6}"/>
          </ac:picMkLst>
        </pc:picChg>
        <pc:cxnChg chg="del">
          <ac:chgData name="Pierre CHAVANNE" userId="2e2e2412-eb49-4787-bd3d-d17adeb25e11" providerId="ADAL" clId="{785B313A-1377-449B-85BC-3F92DDC48F10}" dt="2024-01-23T14:25:06.412" v="4488" actId="478"/>
          <ac:cxnSpMkLst>
            <pc:docMk/>
            <pc:sldMk cId="3174316311" sldId="350"/>
            <ac:cxnSpMk id="14" creationId="{E21AC21D-0F31-05B5-FC15-5F23D2D005C7}"/>
          </ac:cxnSpMkLst>
        </pc:cxnChg>
      </pc:sldChg>
      <pc:sldChg chg="delSp modSp add mod">
        <pc:chgData name="Pierre CHAVANNE" userId="2e2e2412-eb49-4787-bd3d-d17adeb25e11" providerId="ADAL" clId="{785B313A-1377-449B-85BC-3F92DDC48F10}" dt="2024-02-05T15:10:49.510" v="8036" actId="20577"/>
        <pc:sldMkLst>
          <pc:docMk/>
          <pc:sldMk cId="3358519971" sldId="351"/>
        </pc:sldMkLst>
        <pc:spChg chg="mod">
          <ac:chgData name="Pierre CHAVANNE" userId="2e2e2412-eb49-4787-bd3d-d17adeb25e11" providerId="ADAL" clId="{785B313A-1377-449B-85BC-3F92DDC48F10}" dt="2024-01-23T17:08:40.350" v="6688" actId="20577"/>
          <ac:spMkLst>
            <pc:docMk/>
            <pc:sldMk cId="3358519971" sldId="351"/>
            <ac:spMk id="2" creationId="{E52B8373-62D1-544B-7A5C-41B622D6A38F}"/>
          </ac:spMkLst>
        </pc:spChg>
        <pc:spChg chg="mod">
          <ac:chgData name="Pierre CHAVANNE" userId="2e2e2412-eb49-4787-bd3d-d17adeb25e11" providerId="ADAL" clId="{785B313A-1377-449B-85BC-3F92DDC48F10}" dt="2024-02-05T15:10:49.510" v="8036" actId="20577"/>
          <ac:spMkLst>
            <pc:docMk/>
            <pc:sldMk cId="3358519971" sldId="351"/>
            <ac:spMk id="4" creationId="{430F12B2-8A30-D6A2-6AC7-ABAE7B02E283}"/>
          </ac:spMkLst>
        </pc:spChg>
        <pc:picChg chg="del">
          <ac:chgData name="Pierre CHAVANNE" userId="2e2e2412-eb49-4787-bd3d-d17adeb25e11" providerId="ADAL" clId="{785B313A-1377-449B-85BC-3F92DDC48F10}" dt="2024-01-23T14:33:51.158" v="4628" actId="478"/>
          <ac:picMkLst>
            <pc:docMk/>
            <pc:sldMk cId="3358519971" sldId="351"/>
            <ac:picMk id="5" creationId="{9F33D193-BE6A-DE62-4270-04469410F8DF}"/>
          </ac:picMkLst>
        </pc:picChg>
      </pc:sldChg>
      <pc:sldChg chg="delSp modSp add mod">
        <pc:chgData name="Pierre CHAVANNE" userId="2e2e2412-eb49-4787-bd3d-d17adeb25e11" providerId="ADAL" clId="{785B313A-1377-449B-85BC-3F92DDC48F10}" dt="2024-01-24T11:27:49.043" v="7922" actId="20577"/>
        <pc:sldMkLst>
          <pc:docMk/>
          <pc:sldMk cId="3721139861" sldId="352"/>
        </pc:sldMkLst>
        <pc:spChg chg="mod">
          <ac:chgData name="Pierre CHAVANNE" userId="2e2e2412-eb49-4787-bd3d-d17adeb25e11" providerId="ADAL" clId="{785B313A-1377-449B-85BC-3F92DDC48F10}" dt="2024-01-24T10:29:32.211" v="6923" actId="20577"/>
          <ac:spMkLst>
            <pc:docMk/>
            <pc:sldMk cId="3721139861" sldId="352"/>
            <ac:spMk id="2" creationId="{E52B8373-62D1-544B-7A5C-41B622D6A38F}"/>
          </ac:spMkLst>
        </pc:spChg>
        <pc:spChg chg="mod">
          <ac:chgData name="Pierre CHAVANNE" userId="2e2e2412-eb49-4787-bd3d-d17adeb25e11" providerId="ADAL" clId="{785B313A-1377-449B-85BC-3F92DDC48F10}" dt="2024-01-24T11:27:49.043" v="7922" actId="20577"/>
          <ac:spMkLst>
            <pc:docMk/>
            <pc:sldMk cId="3721139861" sldId="352"/>
            <ac:spMk id="4" creationId="{430F12B2-8A30-D6A2-6AC7-ABAE7B02E283}"/>
          </ac:spMkLst>
        </pc:spChg>
        <pc:picChg chg="del">
          <ac:chgData name="Pierre CHAVANNE" userId="2e2e2412-eb49-4787-bd3d-d17adeb25e11" providerId="ADAL" clId="{785B313A-1377-449B-85BC-3F92DDC48F10}" dt="2024-01-24T10:29:36.176" v="6928" actId="478"/>
          <ac:picMkLst>
            <pc:docMk/>
            <pc:sldMk cId="3721139861" sldId="352"/>
            <ac:picMk id="5" creationId="{9F33D193-BE6A-DE62-4270-04469410F8DF}"/>
          </ac:picMkLst>
        </pc:picChg>
      </pc:sldChg>
      <pc:sldChg chg="add">
        <pc:chgData name="Pierre CHAVANNE" userId="2e2e2412-eb49-4787-bd3d-d17adeb25e11" providerId="ADAL" clId="{785B313A-1377-449B-85BC-3F92DDC48F10}" dt="2024-01-24T11:30:12.504" v="7923"/>
        <pc:sldMkLst>
          <pc:docMk/>
          <pc:sldMk cId="3387029359" sldId="353"/>
        </pc:sldMkLst>
      </pc:sldChg>
      <pc:sldChg chg="add">
        <pc:chgData name="Pierre CHAVANNE" userId="2e2e2412-eb49-4787-bd3d-d17adeb25e11" providerId="ADAL" clId="{785B313A-1377-449B-85BC-3F92DDC48F10}" dt="2024-01-24T11:30:12.504" v="7923"/>
        <pc:sldMkLst>
          <pc:docMk/>
          <pc:sldMk cId="3724254854" sldId="354"/>
        </pc:sldMkLst>
      </pc:sldChg>
      <pc:sldChg chg="add">
        <pc:chgData name="Pierre CHAVANNE" userId="2e2e2412-eb49-4787-bd3d-d17adeb25e11" providerId="ADAL" clId="{785B313A-1377-449B-85BC-3F92DDC48F10}" dt="2024-01-24T11:30:12.504" v="7923"/>
        <pc:sldMkLst>
          <pc:docMk/>
          <pc:sldMk cId="3879505519" sldId="355"/>
        </pc:sldMkLst>
      </pc:sldChg>
    </pc:docChg>
  </pc:docChgLst>
  <pc:docChgLst>
    <pc:chgData name="Pierre CHAVANNE" userId="2e2e2412-eb49-4787-bd3d-d17adeb25e11" providerId="ADAL" clId="{9CFB6ED8-5AF2-4D15-9E1C-928FF6020B04}"/>
    <pc:docChg chg="custSel addSld delSld modSld modMainMaster replTag">
      <pc:chgData name="Pierre CHAVANNE" userId="2e2e2412-eb49-4787-bd3d-d17adeb25e11" providerId="ADAL" clId="{9CFB6ED8-5AF2-4D15-9E1C-928FF6020B04}" dt="2024-02-17T16:44:08.030" v="5186" actId="207"/>
      <pc:docMkLst>
        <pc:docMk/>
      </pc:docMkLst>
      <pc:sldChg chg="del">
        <pc:chgData name="Pierre CHAVANNE" userId="2e2e2412-eb49-4787-bd3d-d17adeb25e11" providerId="ADAL" clId="{9CFB6ED8-5AF2-4D15-9E1C-928FF6020B04}" dt="2024-02-17T15:48:51.452" v="0" actId="47"/>
        <pc:sldMkLst>
          <pc:docMk/>
          <pc:sldMk cId="4082308843" sldId="262"/>
        </pc:sldMkLst>
      </pc:sldChg>
      <pc:sldChg chg="del">
        <pc:chgData name="Pierre CHAVANNE" userId="2e2e2412-eb49-4787-bd3d-d17adeb25e11" providerId="ADAL" clId="{9CFB6ED8-5AF2-4D15-9E1C-928FF6020B04}" dt="2024-02-17T15:49:01.980" v="6" actId="47"/>
        <pc:sldMkLst>
          <pc:docMk/>
          <pc:sldMk cId="181288734" sldId="264"/>
        </pc:sldMkLst>
      </pc:sldChg>
      <pc:sldChg chg="del">
        <pc:chgData name="Pierre CHAVANNE" userId="2e2e2412-eb49-4787-bd3d-d17adeb25e11" providerId="ADAL" clId="{9CFB6ED8-5AF2-4D15-9E1C-928FF6020B04}" dt="2024-02-17T15:48:57.648" v="5" actId="47"/>
        <pc:sldMkLst>
          <pc:docMk/>
          <pc:sldMk cId="3009670697" sldId="345"/>
        </pc:sldMkLst>
      </pc:sldChg>
      <pc:sldChg chg="del">
        <pc:chgData name="Pierre CHAVANNE" userId="2e2e2412-eb49-4787-bd3d-d17adeb25e11" providerId="ADAL" clId="{9CFB6ED8-5AF2-4D15-9E1C-928FF6020B04}" dt="2024-02-17T15:49:02.628" v="7" actId="47"/>
        <pc:sldMkLst>
          <pc:docMk/>
          <pc:sldMk cId="3556691415" sldId="346"/>
        </pc:sldMkLst>
      </pc:sldChg>
      <pc:sldChg chg="del">
        <pc:chgData name="Pierre CHAVANNE" userId="2e2e2412-eb49-4787-bd3d-d17adeb25e11" providerId="ADAL" clId="{9CFB6ED8-5AF2-4D15-9E1C-928FF6020B04}" dt="2024-02-17T15:49:05.237" v="8" actId="47"/>
        <pc:sldMkLst>
          <pc:docMk/>
          <pc:sldMk cId="3390067061" sldId="347"/>
        </pc:sldMkLst>
      </pc:sldChg>
      <pc:sldChg chg="del">
        <pc:chgData name="Pierre CHAVANNE" userId="2e2e2412-eb49-4787-bd3d-d17adeb25e11" providerId="ADAL" clId="{9CFB6ED8-5AF2-4D15-9E1C-928FF6020B04}" dt="2024-02-17T15:49:05.747" v="9" actId="47"/>
        <pc:sldMkLst>
          <pc:docMk/>
          <pc:sldMk cId="277130759" sldId="348"/>
        </pc:sldMkLst>
      </pc:sldChg>
      <pc:sldChg chg="del">
        <pc:chgData name="Pierre CHAVANNE" userId="2e2e2412-eb49-4787-bd3d-d17adeb25e11" providerId="ADAL" clId="{9CFB6ED8-5AF2-4D15-9E1C-928FF6020B04}" dt="2024-02-17T15:48:54.328" v="4" actId="47"/>
        <pc:sldMkLst>
          <pc:docMk/>
          <pc:sldMk cId="1714316781" sldId="349"/>
        </pc:sldMkLst>
      </pc:sldChg>
      <pc:sldChg chg="modSp mod">
        <pc:chgData name="Pierre CHAVANNE" userId="2e2e2412-eb49-4787-bd3d-d17adeb25e11" providerId="ADAL" clId="{9CFB6ED8-5AF2-4D15-9E1C-928FF6020B04}" dt="2024-02-17T16:39:08.672" v="5136" actId="20577"/>
        <pc:sldMkLst>
          <pc:docMk/>
          <pc:sldMk cId="3721139861" sldId="352"/>
        </pc:sldMkLst>
        <pc:spChg chg="mod">
          <ac:chgData name="Pierre CHAVANNE" userId="2e2e2412-eb49-4787-bd3d-d17adeb25e11" providerId="ADAL" clId="{9CFB6ED8-5AF2-4D15-9E1C-928FF6020B04}" dt="2024-02-17T16:39:08.672" v="5136" actId="20577"/>
          <ac:spMkLst>
            <pc:docMk/>
            <pc:sldMk cId="3721139861" sldId="352"/>
            <ac:spMk id="4" creationId="{430F12B2-8A30-D6A2-6AC7-ABAE7B02E283}"/>
          </ac:spMkLst>
        </pc:spChg>
      </pc:sldChg>
      <pc:sldChg chg="addSp delSp modSp add mod">
        <pc:chgData name="Pierre CHAVANNE" userId="2e2e2412-eb49-4787-bd3d-d17adeb25e11" providerId="ADAL" clId="{9CFB6ED8-5AF2-4D15-9E1C-928FF6020B04}" dt="2024-02-17T16:15:54.991" v="2545" actId="20577"/>
        <pc:sldMkLst>
          <pc:docMk/>
          <pc:sldMk cId="317458403" sldId="353"/>
        </pc:sldMkLst>
        <pc:spChg chg="mod">
          <ac:chgData name="Pierre CHAVANNE" userId="2e2e2412-eb49-4787-bd3d-d17adeb25e11" providerId="ADAL" clId="{9CFB6ED8-5AF2-4D15-9E1C-928FF6020B04}" dt="2024-02-17T15:49:57.404" v="29" actId="948"/>
          <ac:spMkLst>
            <pc:docMk/>
            <pc:sldMk cId="317458403" sldId="353"/>
            <ac:spMk id="2" creationId="{E52B8373-62D1-544B-7A5C-41B622D6A38F}"/>
          </ac:spMkLst>
        </pc:spChg>
        <pc:spChg chg="add del mod modVis">
          <ac:chgData name="Pierre CHAVANNE" userId="2e2e2412-eb49-4787-bd3d-d17adeb25e11" providerId="ADAL" clId="{9CFB6ED8-5AF2-4D15-9E1C-928FF6020B04}" dt="2024-02-17T15:49:57.504" v="67"/>
          <ac:spMkLst>
            <pc:docMk/>
            <pc:sldMk cId="317458403" sldId="353"/>
            <ac:spMk id="3" creationId="{0CC27620-FE34-9E9A-D092-86DB6D2BFED8}"/>
          </ac:spMkLst>
        </pc:spChg>
        <pc:spChg chg="mod">
          <ac:chgData name="Pierre CHAVANNE" userId="2e2e2412-eb49-4787-bd3d-d17adeb25e11" providerId="ADAL" clId="{9CFB6ED8-5AF2-4D15-9E1C-928FF6020B04}" dt="2024-02-17T16:15:54.991" v="2545" actId="20577"/>
          <ac:spMkLst>
            <pc:docMk/>
            <pc:sldMk cId="317458403" sldId="353"/>
            <ac:spMk id="4" creationId="{430F12B2-8A30-D6A2-6AC7-ABAE7B02E283}"/>
          </ac:spMkLst>
        </pc:spChg>
        <pc:graphicFrameChg chg="add mod ord modVis replST">
          <ac:chgData name="Pierre CHAVANNE" userId="2e2e2412-eb49-4787-bd3d-d17adeb25e11" providerId="ADAL" clId="{9CFB6ED8-5AF2-4D15-9E1C-928FF6020B04}" dt="2024-02-17T15:49:57.520" v="82"/>
          <ac:graphicFrameMkLst>
            <pc:docMk/>
            <pc:sldMk cId="317458403" sldId="353"/>
            <ac:graphicFrameMk id="5" creationId="{0A691175-E3FF-7DC1-B541-0E7FF0C4A2BF}"/>
          </ac:graphicFrameMkLst>
        </pc:graphicFrameChg>
      </pc:sldChg>
      <pc:sldChg chg="del">
        <pc:chgData name="Pierre CHAVANNE" userId="2e2e2412-eb49-4787-bd3d-d17adeb25e11" providerId="ADAL" clId="{9CFB6ED8-5AF2-4D15-9E1C-928FF6020B04}" dt="2024-02-17T15:48:52.227" v="1" actId="47"/>
        <pc:sldMkLst>
          <pc:docMk/>
          <pc:sldMk cId="3387029359" sldId="353"/>
        </pc:sldMkLst>
      </pc:sldChg>
      <pc:sldChg chg="del">
        <pc:chgData name="Pierre CHAVANNE" userId="2e2e2412-eb49-4787-bd3d-d17adeb25e11" providerId="ADAL" clId="{9CFB6ED8-5AF2-4D15-9E1C-928FF6020B04}" dt="2024-02-17T15:48:52.800" v="2" actId="47"/>
        <pc:sldMkLst>
          <pc:docMk/>
          <pc:sldMk cId="3724254854" sldId="354"/>
        </pc:sldMkLst>
      </pc:sldChg>
      <pc:sldChg chg="addSp delSp modSp add mod">
        <pc:chgData name="Pierre CHAVANNE" userId="2e2e2412-eb49-4787-bd3d-d17adeb25e11" providerId="ADAL" clId="{9CFB6ED8-5AF2-4D15-9E1C-928FF6020B04}" dt="2024-02-17T16:39:44.148" v="5138" actId="478"/>
        <pc:sldMkLst>
          <pc:docMk/>
          <pc:sldMk cId="3843386941" sldId="354"/>
        </pc:sldMkLst>
        <pc:spChg chg="mod">
          <ac:chgData name="Pierre CHAVANNE" userId="2e2e2412-eb49-4787-bd3d-d17adeb25e11" providerId="ADAL" clId="{9CFB6ED8-5AF2-4D15-9E1C-928FF6020B04}" dt="2024-02-17T15:52:02.443" v="343" actId="948"/>
          <ac:spMkLst>
            <pc:docMk/>
            <pc:sldMk cId="3843386941" sldId="354"/>
            <ac:spMk id="2" creationId="{E52B8373-62D1-544B-7A5C-41B622D6A38F}"/>
          </ac:spMkLst>
        </pc:spChg>
        <pc:spChg chg="add del mod modVis">
          <ac:chgData name="Pierre CHAVANNE" userId="2e2e2412-eb49-4787-bd3d-d17adeb25e11" providerId="ADAL" clId="{9CFB6ED8-5AF2-4D15-9E1C-928FF6020B04}" dt="2024-02-17T15:52:02.474" v="366"/>
          <ac:spMkLst>
            <pc:docMk/>
            <pc:sldMk cId="3843386941" sldId="354"/>
            <ac:spMk id="3" creationId="{7AF30979-5290-B128-0D99-006818E283BB}"/>
          </ac:spMkLst>
        </pc:spChg>
        <pc:spChg chg="mod">
          <ac:chgData name="Pierre CHAVANNE" userId="2e2e2412-eb49-4787-bd3d-d17adeb25e11" providerId="ADAL" clId="{9CFB6ED8-5AF2-4D15-9E1C-928FF6020B04}" dt="2024-02-17T16:29:18.601" v="4120" actId="20577"/>
          <ac:spMkLst>
            <pc:docMk/>
            <pc:sldMk cId="3843386941" sldId="354"/>
            <ac:spMk id="4" creationId="{430F12B2-8A30-D6A2-6AC7-ABAE7B02E283}"/>
          </ac:spMkLst>
        </pc:spChg>
        <pc:graphicFrameChg chg="mod">
          <ac:chgData name="Pierre CHAVANNE" userId="2e2e2412-eb49-4787-bd3d-d17adeb25e11" providerId="ADAL" clId="{9CFB6ED8-5AF2-4D15-9E1C-928FF6020B04}" dt="2024-02-17T15:52:02.474" v="368"/>
          <ac:graphicFrameMkLst>
            <pc:docMk/>
            <pc:sldMk cId="3843386941" sldId="354"/>
            <ac:graphicFrameMk id="5" creationId="{0A691175-E3FF-7DC1-B541-0E7FF0C4A2BF}"/>
          </ac:graphicFrameMkLst>
        </pc:graphicFrameChg>
        <pc:picChg chg="add del mod">
          <ac:chgData name="Pierre CHAVANNE" userId="2e2e2412-eb49-4787-bd3d-d17adeb25e11" providerId="ADAL" clId="{9CFB6ED8-5AF2-4D15-9E1C-928FF6020B04}" dt="2024-02-17T16:39:44.148" v="5138" actId="478"/>
          <ac:picMkLst>
            <pc:docMk/>
            <pc:sldMk cId="3843386941" sldId="354"/>
            <ac:picMk id="8" creationId="{99E38907-D098-AC24-740C-C63F5D9A6DB8}"/>
          </ac:picMkLst>
        </pc:picChg>
      </pc:sldChg>
      <pc:sldChg chg="addSp delSp modSp add mod">
        <pc:chgData name="Pierre CHAVANNE" userId="2e2e2412-eb49-4787-bd3d-d17adeb25e11" providerId="ADAL" clId="{9CFB6ED8-5AF2-4D15-9E1C-928FF6020B04}" dt="2024-02-17T16:39:31.611" v="5137" actId="2711"/>
        <pc:sldMkLst>
          <pc:docMk/>
          <pc:sldMk cId="3317576242" sldId="355"/>
        </pc:sldMkLst>
        <pc:spChg chg="del">
          <ac:chgData name="Pierre CHAVANNE" userId="2e2e2412-eb49-4787-bd3d-d17adeb25e11" providerId="ADAL" clId="{9CFB6ED8-5AF2-4D15-9E1C-928FF6020B04}" dt="2024-02-17T16:15:42.406" v="2531" actId="478"/>
          <ac:spMkLst>
            <pc:docMk/>
            <pc:sldMk cId="3317576242" sldId="355"/>
            <ac:spMk id="2" creationId="{E52B8373-62D1-544B-7A5C-41B622D6A38F}"/>
          </ac:spMkLst>
        </pc:spChg>
        <pc:spChg chg="mod">
          <ac:chgData name="Pierre CHAVANNE" userId="2e2e2412-eb49-4787-bd3d-d17adeb25e11" providerId="ADAL" clId="{9CFB6ED8-5AF2-4D15-9E1C-928FF6020B04}" dt="2024-02-17T16:39:31.611" v="5137" actId="2711"/>
          <ac:spMkLst>
            <pc:docMk/>
            <pc:sldMk cId="3317576242" sldId="355"/>
            <ac:spMk id="4" creationId="{430F12B2-8A30-D6A2-6AC7-ABAE7B02E283}"/>
          </ac:spMkLst>
        </pc:spChg>
        <pc:spChg chg="add del mod">
          <ac:chgData name="Pierre CHAVANNE" userId="2e2e2412-eb49-4787-bd3d-d17adeb25e11" providerId="ADAL" clId="{9CFB6ED8-5AF2-4D15-9E1C-928FF6020B04}" dt="2024-02-17T16:15:44.367" v="2536" actId="478"/>
          <ac:spMkLst>
            <pc:docMk/>
            <pc:sldMk cId="3317576242" sldId="355"/>
            <ac:spMk id="7" creationId="{8A53B752-41B0-7FD0-CA7E-4B19957D8AC7}"/>
          </ac:spMkLst>
        </pc:spChg>
        <pc:graphicFrameChg chg="mod">
          <ac:chgData name="Pierre CHAVANNE" userId="2e2e2412-eb49-4787-bd3d-d17adeb25e11" providerId="ADAL" clId="{9CFB6ED8-5AF2-4D15-9E1C-928FF6020B04}" dt="2024-02-17T16:15:44.869" v="2540"/>
          <ac:graphicFrameMkLst>
            <pc:docMk/>
            <pc:sldMk cId="3317576242" sldId="355"/>
            <ac:graphicFrameMk id="5" creationId="{0A691175-E3FF-7DC1-B541-0E7FF0C4A2BF}"/>
          </ac:graphicFrameMkLst>
        </pc:graphicFrameChg>
      </pc:sldChg>
      <pc:sldChg chg="del">
        <pc:chgData name="Pierre CHAVANNE" userId="2e2e2412-eb49-4787-bd3d-d17adeb25e11" providerId="ADAL" clId="{9CFB6ED8-5AF2-4D15-9E1C-928FF6020B04}" dt="2024-02-17T15:48:53.467" v="3" actId="47"/>
        <pc:sldMkLst>
          <pc:docMk/>
          <pc:sldMk cId="3879505519" sldId="355"/>
        </pc:sldMkLst>
      </pc:sldChg>
      <pc:sldChg chg="addSp delSp modSp add mod">
        <pc:chgData name="Pierre CHAVANNE" userId="2e2e2412-eb49-4787-bd3d-d17adeb25e11" providerId="ADAL" clId="{9CFB6ED8-5AF2-4D15-9E1C-928FF6020B04}" dt="2024-02-17T16:44:08.030" v="5186" actId="207"/>
        <pc:sldMkLst>
          <pc:docMk/>
          <pc:sldMk cId="2096530984" sldId="356"/>
        </pc:sldMkLst>
        <pc:spChg chg="del">
          <ac:chgData name="Pierre CHAVANNE" userId="2e2e2412-eb49-4787-bd3d-d17adeb25e11" providerId="ADAL" clId="{9CFB6ED8-5AF2-4D15-9E1C-928FF6020B04}" dt="2024-02-17T16:29:12.820" v="4115" actId="478"/>
          <ac:spMkLst>
            <pc:docMk/>
            <pc:sldMk cId="2096530984" sldId="356"/>
            <ac:spMk id="2" creationId="{E52B8373-62D1-544B-7A5C-41B622D6A38F}"/>
          </ac:spMkLst>
        </pc:spChg>
        <pc:spChg chg="mod">
          <ac:chgData name="Pierre CHAVANNE" userId="2e2e2412-eb49-4787-bd3d-d17adeb25e11" providerId="ADAL" clId="{9CFB6ED8-5AF2-4D15-9E1C-928FF6020B04}" dt="2024-02-17T16:44:08.030" v="5186" actId="207"/>
          <ac:spMkLst>
            <pc:docMk/>
            <pc:sldMk cId="2096530984" sldId="356"/>
            <ac:spMk id="4" creationId="{430F12B2-8A30-D6A2-6AC7-ABAE7B02E283}"/>
          </ac:spMkLst>
        </pc:spChg>
        <pc:spChg chg="add del mod">
          <ac:chgData name="Pierre CHAVANNE" userId="2e2e2412-eb49-4787-bd3d-d17adeb25e11" providerId="ADAL" clId="{9CFB6ED8-5AF2-4D15-9E1C-928FF6020B04}" dt="2024-02-17T16:29:23.659" v="4122" actId="478"/>
          <ac:spMkLst>
            <pc:docMk/>
            <pc:sldMk cId="2096530984" sldId="356"/>
            <ac:spMk id="7" creationId="{7A105147-E6E2-D786-59FB-76D5A63C6187}"/>
          </ac:spMkLst>
        </pc:spChg>
        <pc:spChg chg="add del">
          <ac:chgData name="Pierre CHAVANNE" userId="2e2e2412-eb49-4787-bd3d-d17adeb25e11" providerId="ADAL" clId="{9CFB6ED8-5AF2-4D15-9E1C-928FF6020B04}" dt="2024-02-17T16:31:05.465" v="4399"/>
          <ac:spMkLst>
            <pc:docMk/>
            <pc:sldMk cId="2096530984" sldId="356"/>
            <ac:spMk id="9" creationId="{DA5479D1-0C26-8502-5401-062D6C37CE90}"/>
          </ac:spMkLst>
        </pc:spChg>
        <pc:spChg chg="add del">
          <ac:chgData name="Pierre CHAVANNE" userId="2e2e2412-eb49-4787-bd3d-d17adeb25e11" providerId="ADAL" clId="{9CFB6ED8-5AF2-4D15-9E1C-928FF6020B04}" dt="2024-02-17T16:31:08.606" v="4402"/>
          <ac:spMkLst>
            <pc:docMk/>
            <pc:sldMk cId="2096530984" sldId="356"/>
            <ac:spMk id="10" creationId="{77FE6B43-17D3-E310-E8AA-5E9F886E7AE8}"/>
          </ac:spMkLst>
        </pc:spChg>
        <pc:spChg chg="add del mod">
          <ac:chgData name="Pierre CHAVANNE" userId="2e2e2412-eb49-4787-bd3d-d17adeb25e11" providerId="ADAL" clId="{9CFB6ED8-5AF2-4D15-9E1C-928FF6020B04}" dt="2024-02-17T16:31:31.835" v="4412" actId="478"/>
          <ac:spMkLst>
            <pc:docMk/>
            <pc:sldMk cId="2096530984" sldId="356"/>
            <ac:spMk id="11" creationId="{7B1CF8FD-FA29-444F-262C-37B82DBA0BDA}"/>
          </ac:spMkLst>
        </pc:spChg>
        <pc:graphicFrameChg chg="mod">
          <ac:chgData name="Pierre CHAVANNE" userId="2e2e2412-eb49-4787-bd3d-d17adeb25e11" providerId="ADAL" clId="{9CFB6ED8-5AF2-4D15-9E1C-928FF6020B04}" dt="2024-02-17T16:29:24.186" v="4126"/>
          <ac:graphicFrameMkLst>
            <pc:docMk/>
            <pc:sldMk cId="2096530984" sldId="356"/>
            <ac:graphicFrameMk id="5" creationId="{0A691175-E3FF-7DC1-B541-0E7FF0C4A2BF}"/>
          </ac:graphicFrameMkLst>
        </pc:graphicFrameChg>
        <pc:picChg chg="del mod">
          <ac:chgData name="Pierre CHAVANNE" userId="2e2e2412-eb49-4787-bd3d-d17adeb25e11" providerId="ADAL" clId="{9CFB6ED8-5AF2-4D15-9E1C-928FF6020B04}" dt="2024-02-17T16:36:51.627" v="5032" actId="478"/>
          <ac:picMkLst>
            <pc:docMk/>
            <pc:sldMk cId="2096530984" sldId="356"/>
            <ac:picMk id="8" creationId="{99E38907-D098-AC24-740C-C63F5D9A6DB8}"/>
          </ac:picMkLst>
        </pc:picChg>
      </pc:sldChg>
      <pc:sldMasterChg chg="addSp modSp mod">
        <pc:chgData name="Pierre CHAVANNE" userId="2e2e2412-eb49-4787-bd3d-d17adeb25e11" providerId="ADAL" clId="{9CFB6ED8-5AF2-4D15-9E1C-928FF6020B04}" dt="2024-02-17T15:49:57.489" v="65"/>
        <pc:sldMasterMkLst>
          <pc:docMk/>
          <pc:sldMasterMk cId="2894504039" sldId="2147483648"/>
        </pc:sldMasterMkLst>
        <pc:graphicFrameChg chg="add mod ord modVis replST">
          <ac:chgData name="Pierre CHAVANNE" userId="2e2e2412-eb49-4787-bd3d-d17adeb25e11" providerId="ADAL" clId="{9CFB6ED8-5AF2-4D15-9E1C-928FF6020B04}" dt="2024-02-17T15:49:57.489" v="65"/>
          <ac:graphicFrameMkLst>
            <pc:docMk/>
            <pc:sldMasterMk cId="2894504039" sldId="2147483648"/>
            <ac:graphicFrameMk id="2" creationId="{D26B59F8-62A3-D2CB-6ED9-346941B0425A}"/>
          </ac:graphicFrameMkLst>
        </pc:graphicFrameChg>
      </pc:sldMasterChg>
    </pc:docChg>
  </pc:docChgLst>
  <pc:docChgLst>
    <pc:chgData name="Alexandre LEVANTE" userId="3f9fa648-f14b-4615-9798-27ea0c61bfed" providerId="ADAL" clId="{A1BFA0AB-F188-4DCE-9C32-05D8FFA3982E}"/>
    <pc:docChg chg="undo custSel addSld delSld modSld">
      <pc:chgData name="Alexandre LEVANTE" userId="3f9fa648-f14b-4615-9798-27ea0c61bfed" providerId="ADAL" clId="{A1BFA0AB-F188-4DCE-9C32-05D8FFA3982E}" dt="2023-11-27T14:08:36.928" v="9" actId="47"/>
      <pc:docMkLst>
        <pc:docMk/>
      </pc:docMkLst>
      <pc:sldChg chg="add del">
        <pc:chgData name="Alexandre LEVANTE" userId="3f9fa648-f14b-4615-9798-27ea0c61bfed" providerId="ADAL" clId="{A1BFA0AB-F188-4DCE-9C32-05D8FFA3982E}" dt="2023-11-27T14:07:13.962" v="4"/>
        <pc:sldMkLst>
          <pc:docMk/>
          <pc:sldMk cId="416608894" sldId="256"/>
        </pc:sldMkLst>
      </pc:sldChg>
      <pc:sldChg chg="add del">
        <pc:chgData name="Alexandre LEVANTE" userId="3f9fa648-f14b-4615-9798-27ea0c61bfed" providerId="ADAL" clId="{A1BFA0AB-F188-4DCE-9C32-05D8FFA3982E}" dt="2023-11-27T14:07:02.327" v="2" actId="47"/>
        <pc:sldMkLst>
          <pc:docMk/>
          <pc:sldMk cId="2270051247" sldId="261"/>
        </pc:sldMkLst>
      </pc:sldChg>
      <pc:sldChg chg="new del">
        <pc:chgData name="Alexandre LEVANTE" userId="3f9fa648-f14b-4615-9798-27ea0c61bfed" providerId="ADAL" clId="{A1BFA0AB-F188-4DCE-9C32-05D8FFA3982E}" dt="2023-11-27T14:08:36.928" v="9" actId="47"/>
        <pc:sldMkLst>
          <pc:docMk/>
          <pc:sldMk cId="3798736701" sldId="261"/>
        </pc:sldMkLst>
      </pc:sldChg>
      <pc:sldChg chg="new del">
        <pc:chgData name="Alexandre LEVANTE" userId="3f9fa648-f14b-4615-9798-27ea0c61bfed" providerId="ADAL" clId="{A1BFA0AB-F188-4DCE-9C32-05D8FFA3982E}" dt="2023-11-27T14:08:30.196" v="7" actId="680"/>
        <pc:sldMkLst>
          <pc:docMk/>
          <pc:sldMk cId="1417134834" sldId="262"/>
        </pc:sldMkLst>
      </pc:sldChg>
      <pc:sldChg chg="del">
        <pc:chgData name="Alexandre LEVANTE" userId="3f9fa648-f14b-4615-9798-27ea0c61bfed" providerId="ADAL" clId="{A1BFA0AB-F188-4DCE-9C32-05D8FFA3982E}" dt="2023-11-27T14:07:02.327" v="2" actId="47"/>
        <pc:sldMkLst>
          <pc:docMk/>
          <pc:sldMk cId="2122132644" sldId="262"/>
        </pc:sldMkLst>
      </pc:sldChg>
      <pc:sldChg chg="new">
        <pc:chgData name="Alexandre LEVANTE" userId="3f9fa648-f14b-4615-9798-27ea0c61bfed" providerId="ADAL" clId="{A1BFA0AB-F188-4DCE-9C32-05D8FFA3982E}" dt="2023-11-27T14:08:33.739" v="8" actId="680"/>
        <pc:sldMkLst>
          <pc:docMk/>
          <pc:sldMk cId="4082308843" sldId="262"/>
        </pc:sldMkLst>
      </pc:sldChg>
      <pc:sldChg chg="del">
        <pc:chgData name="Alexandre LEVANTE" userId="3f9fa648-f14b-4615-9798-27ea0c61bfed" providerId="ADAL" clId="{A1BFA0AB-F188-4DCE-9C32-05D8FFA3982E}" dt="2023-11-27T14:07:02.327" v="2" actId="47"/>
        <pc:sldMkLst>
          <pc:docMk/>
          <pc:sldMk cId="1571575077" sldId="263"/>
        </pc:sldMkLst>
      </pc:sldChg>
      <pc:sldChg chg="del">
        <pc:chgData name="Alexandre LEVANTE" userId="3f9fa648-f14b-4615-9798-27ea0c61bfed" providerId="ADAL" clId="{A1BFA0AB-F188-4DCE-9C32-05D8FFA3982E}" dt="2023-11-27T14:07:02.327" v="2" actId="47"/>
        <pc:sldMkLst>
          <pc:docMk/>
          <pc:sldMk cId="2380994617" sldId="265"/>
        </pc:sldMkLst>
      </pc:sldChg>
      <pc:sldChg chg="del">
        <pc:chgData name="Alexandre LEVANTE" userId="3f9fa648-f14b-4615-9798-27ea0c61bfed" providerId="ADAL" clId="{A1BFA0AB-F188-4DCE-9C32-05D8FFA3982E}" dt="2023-11-27T14:07:02.327" v="2" actId="47"/>
        <pc:sldMkLst>
          <pc:docMk/>
          <pc:sldMk cId="1615902378" sldId="266"/>
        </pc:sldMkLst>
      </pc:sldChg>
      <pc:sldChg chg="del">
        <pc:chgData name="Alexandre LEVANTE" userId="3f9fa648-f14b-4615-9798-27ea0c61bfed" providerId="ADAL" clId="{A1BFA0AB-F188-4DCE-9C32-05D8FFA3982E}" dt="2023-11-27T14:07:02.327" v="2" actId="47"/>
        <pc:sldMkLst>
          <pc:docMk/>
          <pc:sldMk cId="2376373146" sldId="267"/>
        </pc:sldMkLst>
      </pc:sldChg>
      <pc:sldChg chg="del">
        <pc:chgData name="Alexandre LEVANTE" userId="3f9fa648-f14b-4615-9798-27ea0c61bfed" providerId="ADAL" clId="{A1BFA0AB-F188-4DCE-9C32-05D8FFA3982E}" dt="2023-11-27T14:07:02.327" v="2" actId="47"/>
        <pc:sldMkLst>
          <pc:docMk/>
          <pc:sldMk cId="3561166778" sldId="300"/>
        </pc:sldMkLst>
      </pc:sldChg>
      <pc:sldChg chg="del">
        <pc:chgData name="Alexandre LEVANTE" userId="3f9fa648-f14b-4615-9798-27ea0c61bfed" providerId="ADAL" clId="{A1BFA0AB-F188-4DCE-9C32-05D8FFA3982E}" dt="2023-11-27T14:07:02.327" v="2" actId="47"/>
        <pc:sldMkLst>
          <pc:docMk/>
          <pc:sldMk cId="2675272974" sldId="2134805925"/>
        </pc:sldMkLst>
      </pc:sldChg>
      <pc:sldChg chg="del">
        <pc:chgData name="Alexandre LEVANTE" userId="3f9fa648-f14b-4615-9798-27ea0c61bfed" providerId="ADAL" clId="{A1BFA0AB-F188-4DCE-9C32-05D8FFA3982E}" dt="2023-11-27T14:07:02.327" v="2" actId="47"/>
        <pc:sldMkLst>
          <pc:docMk/>
          <pc:sldMk cId="621596271" sldId="2147377117"/>
        </pc:sldMkLst>
      </pc:sldChg>
      <pc:sldChg chg="del">
        <pc:chgData name="Alexandre LEVANTE" userId="3f9fa648-f14b-4615-9798-27ea0c61bfed" providerId="ADAL" clId="{A1BFA0AB-F188-4DCE-9C32-05D8FFA3982E}" dt="2023-11-27T14:07:02.327" v="2" actId="47"/>
        <pc:sldMkLst>
          <pc:docMk/>
          <pc:sldMk cId="2520913310" sldId="2147377118"/>
        </pc:sldMkLst>
      </pc:sldChg>
      <pc:sldChg chg="del">
        <pc:chgData name="Alexandre LEVANTE" userId="3f9fa648-f14b-4615-9798-27ea0c61bfed" providerId="ADAL" clId="{A1BFA0AB-F188-4DCE-9C32-05D8FFA3982E}" dt="2023-11-27T14:07:02.327" v="2" actId="47"/>
        <pc:sldMkLst>
          <pc:docMk/>
          <pc:sldMk cId="3216623788" sldId="2147377410"/>
        </pc:sldMkLst>
      </pc:sldChg>
      <pc:sldChg chg="del">
        <pc:chgData name="Alexandre LEVANTE" userId="3f9fa648-f14b-4615-9798-27ea0c61bfed" providerId="ADAL" clId="{A1BFA0AB-F188-4DCE-9C32-05D8FFA3982E}" dt="2023-11-27T14:07:02.327" v="2" actId="47"/>
        <pc:sldMkLst>
          <pc:docMk/>
          <pc:sldMk cId="1093436317" sldId="2147377424"/>
        </pc:sldMkLst>
      </pc:sldChg>
      <pc:sldChg chg="del">
        <pc:chgData name="Alexandre LEVANTE" userId="3f9fa648-f14b-4615-9798-27ea0c61bfed" providerId="ADAL" clId="{A1BFA0AB-F188-4DCE-9C32-05D8FFA3982E}" dt="2023-11-27T14:07:02.327" v="2" actId="47"/>
        <pc:sldMkLst>
          <pc:docMk/>
          <pc:sldMk cId="2933304876" sldId="2147377426"/>
        </pc:sldMkLst>
      </pc:sldChg>
      <pc:sldChg chg="del">
        <pc:chgData name="Alexandre LEVANTE" userId="3f9fa648-f14b-4615-9798-27ea0c61bfed" providerId="ADAL" clId="{A1BFA0AB-F188-4DCE-9C32-05D8FFA3982E}" dt="2023-11-27T14:07:02.327" v="2" actId="47"/>
        <pc:sldMkLst>
          <pc:docMk/>
          <pc:sldMk cId="1125379258" sldId="2147377427"/>
        </pc:sldMkLst>
      </pc:sldChg>
      <pc:sldChg chg="del">
        <pc:chgData name="Alexandre LEVANTE" userId="3f9fa648-f14b-4615-9798-27ea0c61bfed" providerId="ADAL" clId="{A1BFA0AB-F188-4DCE-9C32-05D8FFA3982E}" dt="2023-11-27T14:07:02.327" v="2" actId="47"/>
        <pc:sldMkLst>
          <pc:docMk/>
          <pc:sldMk cId="2510240396" sldId="2147377432"/>
        </pc:sldMkLst>
      </pc:sldChg>
      <pc:sldChg chg="del">
        <pc:chgData name="Alexandre LEVANTE" userId="3f9fa648-f14b-4615-9798-27ea0c61bfed" providerId="ADAL" clId="{A1BFA0AB-F188-4DCE-9C32-05D8FFA3982E}" dt="2023-11-27T14:07:02.327" v="2" actId="47"/>
        <pc:sldMkLst>
          <pc:docMk/>
          <pc:sldMk cId="3200625503" sldId="2147377437"/>
        </pc:sldMkLst>
      </pc:sldChg>
      <pc:sldChg chg="del">
        <pc:chgData name="Alexandre LEVANTE" userId="3f9fa648-f14b-4615-9798-27ea0c61bfed" providerId="ADAL" clId="{A1BFA0AB-F188-4DCE-9C32-05D8FFA3982E}" dt="2023-11-27T14:07:02.327" v="2" actId="47"/>
        <pc:sldMkLst>
          <pc:docMk/>
          <pc:sldMk cId="3287587123" sldId="2147377438"/>
        </pc:sldMkLst>
      </pc:sldChg>
      <pc:sldChg chg="del">
        <pc:chgData name="Alexandre LEVANTE" userId="3f9fa648-f14b-4615-9798-27ea0c61bfed" providerId="ADAL" clId="{A1BFA0AB-F188-4DCE-9C32-05D8FFA3982E}" dt="2023-11-27T14:07:02.327" v="2" actId="47"/>
        <pc:sldMkLst>
          <pc:docMk/>
          <pc:sldMk cId="2260008973" sldId="2147377441"/>
        </pc:sldMkLst>
      </pc:sldChg>
      <pc:sldChg chg="del">
        <pc:chgData name="Alexandre LEVANTE" userId="3f9fa648-f14b-4615-9798-27ea0c61bfed" providerId="ADAL" clId="{A1BFA0AB-F188-4DCE-9C32-05D8FFA3982E}" dt="2023-11-27T14:07:02.327" v="2" actId="47"/>
        <pc:sldMkLst>
          <pc:docMk/>
          <pc:sldMk cId="1548333667" sldId="2147377442"/>
        </pc:sldMkLst>
      </pc:sldChg>
      <pc:sldChg chg="del">
        <pc:chgData name="Alexandre LEVANTE" userId="3f9fa648-f14b-4615-9798-27ea0c61bfed" providerId="ADAL" clId="{A1BFA0AB-F188-4DCE-9C32-05D8FFA3982E}" dt="2023-11-27T14:07:02.327" v="2" actId="47"/>
        <pc:sldMkLst>
          <pc:docMk/>
          <pc:sldMk cId="1611988416" sldId="2147377445"/>
        </pc:sldMkLst>
      </pc:sldChg>
      <pc:sldChg chg="del">
        <pc:chgData name="Alexandre LEVANTE" userId="3f9fa648-f14b-4615-9798-27ea0c61bfed" providerId="ADAL" clId="{A1BFA0AB-F188-4DCE-9C32-05D8FFA3982E}" dt="2023-11-27T14:07:02.327" v="2" actId="47"/>
        <pc:sldMkLst>
          <pc:docMk/>
          <pc:sldMk cId="789982425" sldId="2147377446"/>
        </pc:sldMkLst>
      </pc:sldChg>
      <pc:sldMasterChg chg="delSldLayout">
        <pc:chgData name="Alexandre LEVANTE" userId="3f9fa648-f14b-4615-9798-27ea0c61bfed" providerId="ADAL" clId="{A1BFA0AB-F188-4DCE-9C32-05D8FFA3982E}" dt="2023-11-27T14:07:02.327" v="2" actId="47"/>
        <pc:sldMasterMkLst>
          <pc:docMk/>
          <pc:sldMasterMk cId="2894504039" sldId="2147483648"/>
        </pc:sldMasterMkLst>
        <pc:sldLayoutChg chg="del">
          <pc:chgData name="Alexandre LEVANTE" userId="3f9fa648-f14b-4615-9798-27ea0c61bfed" providerId="ADAL" clId="{A1BFA0AB-F188-4DCE-9C32-05D8FFA3982E}" dt="2023-11-27T14:07:02.327" v="2" actId="47"/>
          <pc:sldLayoutMkLst>
            <pc:docMk/>
            <pc:sldMasterMk cId="2894504039" sldId="2147483648"/>
            <pc:sldLayoutMk cId="2017896441" sldId="2147483672"/>
          </pc:sldLayoutMkLst>
        </pc:sldLayoutChg>
        <pc:sldLayoutChg chg="del">
          <pc:chgData name="Alexandre LEVANTE" userId="3f9fa648-f14b-4615-9798-27ea0c61bfed" providerId="ADAL" clId="{A1BFA0AB-F188-4DCE-9C32-05D8FFA3982E}" dt="2023-11-27T14:07:02.327" v="2" actId="47"/>
          <pc:sldLayoutMkLst>
            <pc:docMk/>
            <pc:sldMasterMk cId="2894504039" sldId="2147483648"/>
            <pc:sldLayoutMk cId="2489034713" sldId="2147483673"/>
          </pc:sldLayoutMkLst>
        </pc:sldLayoutChg>
        <pc:sldLayoutChg chg="del">
          <pc:chgData name="Alexandre LEVANTE" userId="3f9fa648-f14b-4615-9798-27ea0c61bfed" providerId="ADAL" clId="{A1BFA0AB-F188-4DCE-9C32-05D8FFA3982E}" dt="2023-11-27T14:07:02.327" v="2" actId="47"/>
          <pc:sldLayoutMkLst>
            <pc:docMk/>
            <pc:sldMasterMk cId="2894504039" sldId="2147483648"/>
            <pc:sldLayoutMk cId="2023895060" sldId="2147483674"/>
          </pc:sldLayoutMkLst>
        </pc:sldLayoutChg>
        <pc:sldLayoutChg chg="del">
          <pc:chgData name="Alexandre LEVANTE" userId="3f9fa648-f14b-4615-9798-27ea0c61bfed" providerId="ADAL" clId="{A1BFA0AB-F188-4DCE-9C32-05D8FFA3982E}" dt="2023-11-27T14:07:02.327" v="2" actId="47"/>
          <pc:sldLayoutMkLst>
            <pc:docMk/>
            <pc:sldMasterMk cId="2894504039" sldId="2147483648"/>
            <pc:sldLayoutMk cId="2386603530" sldId="2147483675"/>
          </pc:sldLayoutMkLst>
        </pc:sldLayoutChg>
        <pc:sldLayoutChg chg="del">
          <pc:chgData name="Alexandre LEVANTE" userId="3f9fa648-f14b-4615-9798-27ea0c61bfed" providerId="ADAL" clId="{A1BFA0AB-F188-4DCE-9C32-05D8FFA3982E}" dt="2023-11-27T14:07:02.327" v="2" actId="47"/>
          <pc:sldLayoutMkLst>
            <pc:docMk/>
            <pc:sldMasterMk cId="2894504039" sldId="2147483648"/>
            <pc:sldLayoutMk cId="2778009650" sldId="2147483676"/>
          </pc:sldLayoutMkLst>
        </pc:sldLayoutChg>
      </pc:sldMasterChg>
    </pc:docChg>
  </pc:docChgLst>
  <pc:docChgLst>
    <pc:chgData name="Abdo YOUNES" userId="410625cc-30c9-462b-9b51-d67c878f9deb" providerId="ADAL" clId="{3CD0031A-BFCC-4C46-98F4-C146996B7387}"/>
    <pc:docChg chg="undo redo custSel addSld delSld modSld">
      <pc:chgData name="Abdo YOUNES" userId="410625cc-30c9-462b-9b51-d67c878f9deb" providerId="ADAL" clId="{3CD0031A-BFCC-4C46-98F4-C146996B7387}" dt="2023-11-09T10:10:32.172" v="665"/>
      <pc:docMkLst>
        <pc:docMk/>
      </pc:docMkLst>
      <pc:sldChg chg="addSp delSp modSp mod setBg addAnim delAnim">
        <pc:chgData name="Abdo YOUNES" userId="410625cc-30c9-462b-9b51-d67c878f9deb" providerId="ADAL" clId="{3CD0031A-BFCC-4C46-98F4-C146996B7387}" dt="2023-11-09T09:20:47.013" v="100" actId="478"/>
        <pc:sldMkLst>
          <pc:docMk/>
          <pc:sldMk cId="416608894" sldId="256"/>
        </pc:sldMkLst>
        <pc:spChg chg="mod">
          <ac:chgData name="Abdo YOUNES" userId="410625cc-30c9-462b-9b51-d67c878f9deb" providerId="ADAL" clId="{3CD0031A-BFCC-4C46-98F4-C146996B7387}" dt="2023-11-09T09:20:35.282" v="98" actId="26606"/>
          <ac:spMkLst>
            <pc:docMk/>
            <pc:sldMk cId="416608894" sldId="256"/>
            <ac:spMk id="2" creationId="{059F83C5-EADC-ECB8-9482-5B582EF81F4C}"/>
          </ac:spMkLst>
        </pc:spChg>
        <pc:spChg chg="mod">
          <ac:chgData name="Abdo YOUNES" userId="410625cc-30c9-462b-9b51-d67c878f9deb" providerId="ADAL" clId="{3CD0031A-BFCC-4C46-98F4-C146996B7387}" dt="2023-11-09T09:20:35.282" v="98" actId="26606"/>
          <ac:spMkLst>
            <pc:docMk/>
            <pc:sldMk cId="416608894" sldId="256"/>
            <ac:spMk id="26" creationId="{0997DB9D-7D8D-6D4B-B6A6-246BADFDF375}"/>
          </ac:spMkLst>
        </pc:spChg>
        <pc:spChg chg="add del">
          <ac:chgData name="Abdo YOUNES" userId="410625cc-30c9-462b-9b51-d67c878f9deb" providerId="ADAL" clId="{3CD0031A-BFCC-4C46-98F4-C146996B7387}" dt="2023-11-09T09:20:16.169" v="83" actId="26606"/>
          <ac:spMkLst>
            <pc:docMk/>
            <pc:sldMk cId="416608894" sldId="256"/>
            <ac:spMk id="31" creationId="{FB5B0058-AF13-4859-B429-4EDDE2A26F7F}"/>
          </ac:spMkLst>
        </pc:spChg>
        <pc:spChg chg="add del">
          <ac:chgData name="Abdo YOUNES" userId="410625cc-30c9-462b-9b51-d67c878f9deb" providerId="ADAL" clId="{3CD0031A-BFCC-4C46-98F4-C146996B7387}" dt="2023-11-09T09:20:16.169" v="83" actId="26606"/>
          <ac:spMkLst>
            <pc:docMk/>
            <pc:sldMk cId="416608894" sldId="256"/>
            <ac:spMk id="33" creationId="{0277405F-0B4F-4418-B773-1B38814125B6}"/>
          </ac:spMkLst>
        </pc:spChg>
        <pc:spChg chg="add del">
          <ac:chgData name="Abdo YOUNES" userId="410625cc-30c9-462b-9b51-d67c878f9deb" providerId="ADAL" clId="{3CD0031A-BFCC-4C46-98F4-C146996B7387}" dt="2023-11-09T09:20:21.881" v="89" actId="26606"/>
          <ac:spMkLst>
            <pc:docMk/>
            <pc:sldMk cId="416608894" sldId="256"/>
            <ac:spMk id="35" creationId="{60926200-45C2-41E9-839F-31CD5FE4CD59}"/>
          </ac:spMkLst>
        </pc:spChg>
        <pc:spChg chg="add del">
          <ac:chgData name="Abdo YOUNES" userId="410625cc-30c9-462b-9b51-d67c878f9deb" providerId="ADAL" clId="{3CD0031A-BFCC-4C46-98F4-C146996B7387}" dt="2023-11-09T09:20:17.862" v="85" actId="26606"/>
          <ac:spMkLst>
            <pc:docMk/>
            <pc:sldMk cId="416608894" sldId="256"/>
            <ac:spMk id="37" creationId="{E18F6E8B-15ED-43C7-94BA-91549A651C73}"/>
          </ac:spMkLst>
        </pc:spChg>
        <pc:spChg chg="add del">
          <ac:chgData name="Abdo YOUNES" userId="410625cc-30c9-462b-9b51-d67c878f9deb" providerId="ADAL" clId="{3CD0031A-BFCC-4C46-98F4-C146996B7387}" dt="2023-11-09T09:20:17.862" v="85" actId="26606"/>
          <ac:spMkLst>
            <pc:docMk/>
            <pc:sldMk cId="416608894" sldId="256"/>
            <ac:spMk id="38" creationId="{B81933D1-5615-42C7-9C0B-4EB7105CCE2D}"/>
          </ac:spMkLst>
        </pc:spChg>
        <pc:spChg chg="add del">
          <ac:chgData name="Abdo YOUNES" userId="410625cc-30c9-462b-9b51-d67c878f9deb" providerId="ADAL" clId="{3CD0031A-BFCC-4C46-98F4-C146996B7387}" dt="2023-11-09T09:20:17.862" v="85" actId="26606"/>
          <ac:spMkLst>
            <pc:docMk/>
            <pc:sldMk cId="416608894" sldId="256"/>
            <ac:spMk id="40" creationId="{B089A89A-1E9C-4761-9DFF-53C275FBF870}"/>
          </ac:spMkLst>
        </pc:spChg>
        <pc:spChg chg="add del">
          <ac:chgData name="Abdo YOUNES" userId="410625cc-30c9-462b-9b51-d67c878f9deb" providerId="ADAL" clId="{3CD0031A-BFCC-4C46-98F4-C146996B7387}" dt="2023-11-09T09:20:17.862" v="85" actId="26606"/>
          <ac:spMkLst>
            <pc:docMk/>
            <pc:sldMk cId="416608894" sldId="256"/>
            <ac:spMk id="42" creationId="{19C9EAEA-39D0-4B0E-A0EB-51E7B26740B1}"/>
          </ac:spMkLst>
        </pc:spChg>
        <pc:spChg chg="add del">
          <ac:chgData name="Abdo YOUNES" userId="410625cc-30c9-462b-9b51-d67c878f9deb" providerId="ADAL" clId="{3CD0031A-BFCC-4C46-98F4-C146996B7387}" dt="2023-11-09T09:20:19.123" v="87" actId="26606"/>
          <ac:spMkLst>
            <pc:docMk/>
            <pc:sldMk cId="416608894" sldId="256"/>
            <ac:spMk id="44" creationId="{F0087D53-9295-4463-AAE4-D5C626046E9F}"/>
          </ac:spMkLst>
        </pc:spChg>
        <pc:spChg chg="add del">
          <ac:chgData name="Abdo YOUNES" userId="410625cc-30c9-462b-9b51-d67c878f9deb" providerId="ADAL" clId="{3CD0031A-BFCC-4C46-98F4-C146996B7387}" dt="2023-11-09T09:20:19.123" v="87" actId="26606"/>
          <ac:spMkLst>
            <pc:docMk/>
            <pc:sldMk cId="416608894" sldId="256"/>
            <ac:spMk id="45" creationId="{D6A9C53F-5F90-40A5-8C85-5412D39C8C68}"/>
          </ac:spMkLst>
        </pc:spChg>
        <pc:spChg chg="add del">
          <ac:chgData name="Abdo YOUNES" userId="410625cc-30c9-462b-9b51-d67c878f9deb" providerId="ADAL" clId="{3CD0031A-BFCC-4C46-98F4-C146996B7387}" dt="2023-11-09T09:20:21.881" v="89" actId="26606"/>
          <ac:spMkLst>
            <pc:docMk/>
            <pc:sldMk cId="416608894" sldId="256"/>
            <ac:spMk id="47" creationId="{FB33DC6A-1F1C-4A06-834E-CFF88F1C0BB9}"/>
          </ac:spMkLst>
        </pc:spChg>
        <pc:spChg chg="add del">
          <ac:chgData name="Abdo YOUNES" userId="410625cc-30c9-462b-9b51-d67c878f9deb" providerId="ADAL" clId="{3CD0031A-BFCC-4C46-98F4-C146996B7387}" dt="2023-11-09T09:20:21.881" v="89" actId="26606"/>
          <ac:spMkLst>
            <pc:docMk/>
            <pc:sldMk cId="416608894" sldId="256"/>
            <ac:spMk id="48" creationId="{0FE1D5CF-87B8-4A8A-AD3C-01D06A60769B}"/>
          </ac:spMkLst>
        </pc:spChg>
        <pc:spChg chg="add del">
          <ac:chgData name="Abdo YOUNES" userId="410625cc-30c9-462b-9b51-d67c878f9deb" providerId="ADAL" clId="{3CD0031A-BFCC-4C46-98F4-C146996B7387}" dt="2023-11-09T09:20:21.881" v="89" actId="26606"/>
          <ac:spMkLst>
            <pc:docMk/>
            <pc:sldMk cId="416608894" sldId="256"/>
            <ac:spMk id="49" creationId="{AF2F604E-43BE-4DC3-B983-E071523364F8}"/>
          </ac:spMkLst>
        </pc:spChg>
        <pc:spChg chg="add del">
          <ac:chgData name="Abdo YOUNES" userId="410625cc-30c9-462b-9b51-d67c878f9deb" providerId="ADAL" clId="{3CD0031A-BFCC-4C46-98F4-C146996B7387}" dt="2023-11-09T09:20:21.881" v="89" actId="26606"/>
          <ac:spMkLst>
            <pc:docMk/>
            <pc:sldMk cId="416608894" sldId="256"/>
            <ac:spMk id="50" creationId="{08C9B587-E65E-4B52-B37C-ABEBB6E87928}"/>
          </ac:spMkLst>
        </pc:spChg>
        <pc:spChg chg="add del">
          <ac:chgData name="Abdo YOUNES" userId="410625cc-30c9-462b-9b51-d67c878f9deb" providerId="ADAL" clId="{3CD0031A-BFCC-4C46-98F4-C146996B7387}" dt="2023-11-09T09:20:23.150" v="91" actId="26606"/>
          <ac:spMkLst>
            <pc:docMk/>
            <pc:sldMk cId="416608894" sldId="256"/>
            <ac:spMk id="52" creationId="{B87C619C-EBAB-488E-96B9-153AA4C9B440}"/>
          </ac:spMkLst>
        </pc:spChg>
        <pc:spChg chg="add del">
          <ac:chgData name="Abdo YOUNES" userId="410625cc-30c9-462b-9b51-d67c878f9deb" providerId="ADAL" clId="{3CD0031A-BFCC-4C46-98F4-C146996B7387}" dt="2023-11-09T09:20:23.150" v="91" actId="26606"/>
          <ac:spMkLst>
            <pc:docMk/>
            <pc:sldMk cId="416608894" sldId="256"/>
            <ac:spMk id="53" creationId="{130DA1C1-36FD-41D8-9826-EE797BF39BAB}"/>
          </ac:spMkLst>
        </pc:spChg>
        <pc:spChg chg="add del">
          <ac:chgData name="Abdo YOUNES" userId="410625cc-30c9-462b-9b51-d67c878f9deb" providerId="ADAL" clId="{3CD0031A-BFCC-4C46-98F4-C146996B7387}" dt="2023-11-09T09:20:23.150" v="91" actId="26606"/>
          <ac:spMkLst>
            <pc:docMk/>
            <pc:sldMk cId="416608894" sldId="256"/>
            <ac:spMk id="54" creationId="{35BC54F7-1315-4D6C-9420-A5BF0CDDBC04}"/>
          </ac:spMkLst>
        </pc:spChg>
        <pc:spChg chg="add del">
          <ac:chgData name="Abdo YOUNES" userId="410625cc-30c9-462b-9b51-d67c878f9deb" providerId="ADAL" clId="{3CD0031A-BFCC-4C46-98F4-C146996B7387}" dt="2023-11-09T09:20:26.589" v="93" actId="26606"/>
          <ac:spMkLst>
            <pc:docMk/>
            <pc:sldMk cId="416608894" sldId="256"/>
            <ac:spMk id="56" creationId="{88263A24-0C1F-4677-B43C-4AE14E276B27}"/>
          </ac:spMkLst>
        </pc:spChg>
        <pc:spChg chg="add del">
          <ac:chgData name="Abdo YOUNES" userId="410625cc-30c9-462b-9b51-d67c878f9deb" providerId="ADAL" clId="{3CD0031A-BFCC-4C46-98F4-C146996B7387}" dt="2023-11-09T09:20:26.589" v="93" actId="26606"/>
          <ac:spMkLst>
            <pc:docMk/>
            <pc:sldMk cId="416608894" sldId="256"/>
            <ac:spMk id="57" creationId="{0ADDB668-2CA4-4D2B-9C34-3487CA330BA8}"/>
          </ac:spMkLst>
        </pc:spChg>
        <pc:spChg chg="add del">
          <ac:chgData name="Abdo YOUNES" userId="410625cc-30c9-462b-9b51-d67c878f9deb" providerId="ADAL" clId="{3CD0031A-BFCC-4C46-98F4-C146996B7387}" dt="2023-11-09T09:20:26.589" v="93" actId="26606"/>
          <ac:spMkLst>
            <pc:docMk/>
            <pc:sldMk cId="416608894" sldId="256"/>
            <ac:spMk id="58" creationId="{2568BC19-F052-4108-93E1-6A3D1DEC072F}"/>
          </ac:spMkLst>
        </pc:spChg>
        <pc:spChg chg="add del">
          <ac:chgData name="Abdo YOUNES" userId="410625cc-30c9-462b-9b51-d67c878f9deb" providerId="ADAL" clId="{3CD0031A-BFCC-4C46-98F4-C146996B7387}" dt="2023-11-09T09:20:26.589" v="93" actId="26606"/>
          <ac:spMkLst>
            <pc:docMk/>
            <pc:sldMk cId="416608894" sldId="256"/>
            <ac:spMk id="59" creationId="{D5FD337D-4D6B-4C8B-B6F5-121097E09881}"/>
          </ac:spMkLst>
        </pc:spChg>
        <pc:spChg chg="add del">
          <ac:chgData name="Abdo YOUNES" userId="410625cc-30c9-462b-9b51-d67c878f9deb" providerId="ADAL" clId="{3CD0031A-BFCC-4C46-98F4-C146996B7387}" dt="2023-11-09T09:20:35.282" v="98" actId="26606"/>
          <ac:spMkLst>
            <pc:docMk/>
            <pc:sldMk cId="416608894" sldId="256"/>
            <ac:spMk id="61" creationId="{27BDFED6-6E33-4606-AFE2-886ADB1C018E}"/>
          </ac:spMkLst>
        </pc:spChg>
        <pc:spChg chg="add del">
          <ac:chgData name="Abdo YOUNES" userId="410625cc-30c9-462b-9b51-d67c878f9deb" providerId="ADAL" clId="{3CD0031A-BFCC-4C46-98F4-C146996B7387}" dt="2023-11-09T09:20:35.282" v="98" actId="26606"/>
          <ac:spMkLst>
            <pc:docMk/>
            <pc:sldMk cId="416608894" sldId="256"/>
            <ac:spMk id="62" creationId="{890DEF05-784E-4B61-89E4-04C4ECF4E5A0}"/>
          </ac:spMkLst>
        </pc:spChg>
        <pc:grpChg chg="add del">
          <ac:chgData name="Abdo YOUNES" userId="410625cc-30c9-462b-9b51-d67c878f9deb" providerId="ADAL" clId="{3CD0031A-BFCC-4C46-98F4-C146996B7387}" dt="2023-11-09T09:20:17.862" v="85" actId="26606"/>
          <ac:grpSpMkLst>
            <pc:docMk/>
            <pc:sldMk cId="416608894" sldId="256"/>
            <ac:grpSpMk id="39" creationId="{032D8612-31EB-44CF-A1D0-14FD4C705424}"/>
          </ac:grpSpMkLst>
        </pc:grpChg>
        <pc:picChg chg="mod ord">
          <ac:chgData name="Abdo YOUNES" userId="410625cc-30c9-462b-9b51-d67c878f9deb" providerId="ADAL" clId="{3CD0031A-BFCC-4C46-98F4-C146996B7387}" dt="2023-11-09T09:20:35.282" v="98" actId="26606"/>
          <ac:picMkLst>
            <pc:docMk/>
            <pc:sldMk cId="416608894" sldId="256"/>
            <ac:picMk id="3" creationId="{A27B3215-DB10-3EAB-9093-A6C05371DACF}"/>
          </ac:picMkLst>
        </pc:picChg>
        <pc:picChg chg="add del mod">
          <ac:chgData name="Abdo YOUNES" userId="410625cc-30c9-462b-9b51-d67c878f9deb" providerId="ADAL" clId="{3CD0031A-BFCC-4C46-98F4-C146996B7387}" dt="2023-11-09T09:20:47.013" v="100" actId="478"/>
          <ac:picMkLst>
            <pc:docMk/>
            <pc:sldMk cId="416608894" sldId="256"/>
            <ac:picMk id="4" creationId="{2E6ABECB-E8ED-4E74-D412-4C240A0DE0F4}"/>
          </ac:picMkLst>
        </pc:picChg>
        <pc:picChg chg="mod ord">
          <ac:chgData name="Abdo YOUNES" userId="410625cc-30c9-462b-9b51-d67c878f9deb" providerId="ADAL" clId="{3CD0031A-BFCC-4C46-98F4-C146996B7387}" dt="2023-11-09T09:20:35.282" v="98" actId="26606"/>
          <ac:picMkLst>
            <pc:docMk/>
            <pc:sldMk cId="416608894" sldId="256"/>
            <ac:picMk id="7" creationId="{42A394BC-F169-94E3-A40A-5BC6ECC40396}"/>
          </ac:picMkLst>
        </pc:picChg>
        <pc:cxnChg chg="add del">
          <ac:chgData name="Abdo YOUNES" userId="410625cc-30c9-462b-9b51-d67c878f9deb" providerId="ADAL" clId="{3CD0031A-BFCC-4C46-98F4-C146996B7387}" dt="2023-11-09T09:20:35.282" v="98" actId="26606"/>
          <ac:cxnSpMkLst>
            <pc:docMk/>
            <pc:sldMk cId="416608894" sldId="256"/>
            <ac:cxnSpMk id="63" creationId="{C41BAEC7-F7B0-4224-8B18-8F74B7D87F0B}"/>
          </ac:cxnSpMkLst>
        </pc:cxnChg>
      </pc:sldChg>
      <pc:sldChg chg="addSp delSp modSp mod">
        <pc:chgData name="Abdo YOUNES" userId="410625cc-30c9-462b-9b51-d67c878f9deb" providerId="ADAL" clId="{3CD0031A-BFCC-4C46-98F4-C146996B7387}" dt="2023-11-09T09:31:07.455" v="263" actId="1076"/>
        <pc:sldMkLst>
          <pc:docMk/>
          <pc:sldMk cId="2270051247" sldId="261"/>
        </pc:sldMkLst>
        <pc:spChg chg="add del">
          <ac:chgData name="Abdo YOUNES" userId="410625cc-30c9-462b-9b51-d67c878f9deb" providerId="ADAL" clId="{3CD0031A-BFCC-4C46-98F4-C146996B7387}" dt="2023-11-09T09:19:39.319" v="75" actId="478"/>
          <ac:spMkLst>
            <pc:docMk/>
            <pc:sldMk cId="2270051247" sldId="261"/>
            <ac:spMk id="2" creationId="{9603D949-A946-BEB0-F893-5467B598CC54}"/>
          </ac:spMkLst>
        </pc:spChg>
        <pc:spChg chg="mod">
          <ac:chgData name="Abdo YOUNES" userId="410625cc-30c9-462b-9b51-d67c878f9deb" providerId="ADAL" clId="{3CD0031A-BFCC-4C46-98F4-C146996B7387}" dt="2023-11-09T09:19:44.355" v="77" actId="1076"/>
          <ac:spMkLst>
            <pc:docMk/>
            <pc:sldMk cId="2270051247" sldId="261"/>
            <ac:spMk id="3" creationId="{42BED60B-FBD2-97AD-BE3A-A3295A4D3A65}"/>
          </ac:spMkLst>
        </pc:spChg>
        <pc:spChg chg="mod">
          <ac:chgData name="Abdo YOUNES" userId="410625cc-30c9-462b-9b51-d67c878f9deb" providerId="ADAL" clId="{3CD0031A-BFCC-4C46-98F4-C146996B7387}" dt="2023-11-09T09:20:41.369" v="99" actId="1076"/>
          <ac:spMkLst>
            <pc:docMk/>
            <pc:sldMk cId="2270051247" sldId="261"/>
            <ac:spMk id="4" creationId="{127B1C1F-2961-5A9D-9E04-AA2D543463F8}"/>
          </ac:spMkLst>
        </pc:spChg>
        <pc:spChg chg="mod">
          <ac:chgData name="Abdo YOUNES" userId="410625cc-30c9-462b-9b51-d67c878f9deb" providerId="ADAL" clId="{3CD0031A-BFCC-4C46-98F4-C146996B7387}" dt="2023-11-09T09:27:07.660" v="199" actId="1076"/>
          <ac:spMkLst>
            <pc:docMk/>
            <pc:sldMk cId="2270051247" sldId="261"/>
            <ac:spMk id="5" creationId="{E58A8835-E3A2-1EDB-A3AD-9BD587BDCE60}"/>
          </ac:spMkLst>
        </pc:spChg>
        <pc:spChg chg="add del mod">
          <ac:chgData name="Abdo YOUNES" userId="410625cc-30c9-462b-9b51-d67c878f9deb" providerId="ADAL" clId="{3CD0031A-BFCC-4C46-98F4-C146996B7387}" dt="2023-11-09T09:12:49.323" v="33"/>
          <ac:spMkLst>
            <pc:docMk/>
            <pc:sldMk cId="2270051247" sldId="261"/>
            <ac:spMk id="7" creationId="{A5649591-8B08-A0CC-67C4-9DEC932AB91C}"/>
          </ac:spMkLst>
        </pc:spChg>
        <pc:spChg chg="add del mod">
          <ac:chgData name="Abdo YOUNES" userId="410625cc-30c9-462b-9b51-d67c878f9deb" providerId="ADAL" clId="{3CD0031A-BFCC-4C46-98F4-C146996B7387}" dt="2023-11-09T09:19:40.302" v="76" actId="478"/>
          <ac:spMkLst>
            <pc:docMk/>
            <pc:sldMk cId="2270051247" sldId="261"/>
            <ac:spMk id="15" creationId="{E4F3EF58-8474-99C8-DB9E-3CB336FE5B18}"/>
          </ac:spMkLst>
        </pc:spChg>
        <pc:spChg chg="add del mod">
          <ac:chgData name="Abdo YOUNES" userId="410625cc-30c9-462b-9b51-d67c878f9deb" providerId="ADAL" clId="{3CD0031A-BFCC-4C46-98F4-C146996B7387}" dt="2023-11-09T09:26:13.038" v="176" actId="478"/>
          <ac:spMkLst>
            <pc:docMk/>
            <pc:sldMk cId="2270051247" sldId="261"/>
            <ac:spMk id="16" creationId="{1BF90219-545E-5F72-4366-15AF92F46132}"/>
          </ac:spMkLst>
        </pc:spChg>
        <pc:spChg chg="add del mod">
          <ac:chgData name="Abdo YOUNES" userId="410625cc-30c9-462b-9b51-d67c878f9deb" providerId="ADAL" clId="{3CD0031A-BFCC-4C46-98F4-C146996B7387}" dt="2023-11-09T09:29:28.949" v="234"/>
          <ac:spMkLst>
            <pc:docMk/>
            <pc:sldMk cId="2270051247" sldId="261"/>
            <ac:spMk id="17" creationId="{FEB4176C-BB21-3637-2486-7B7A46C51B94}"/>
          </ac:spMkLst>
        </pc:spChg>
        <pc:spChg chg="add del">
          <ac:chgData name="Abdo YOUNES" userId="410625cc-30c9-462b-9b51-d67c878f9deb" providerId="ADAL" clId="{3CD0031A-BFCC-4C46-98F4-C146996B7387}" dt="2023-11-09T09:26:30.198" v="189" actId="22"/>
          <ac:spMkLst>
            <pc:docMk/>
            <pc:sldMk cId="2270051247" sldId="261"/>
            <ac:spMk id="19" creationId="{177A91D6-4C66-1AC8-4D95-FB9E4DEF102B}"/>
          </ac:spMkLst>
        </pc:spChg>
        <pc:spChg chg="add mod">
          <ac:chgData name="Abdo YOUNES" userId="410625cc-30c9-462b-9b51-d67c878f9deb" providerId="ADAL" clId="{3CD0031A-BFCC-4C46-98F4-C146996B7387}" dt="2023-11-09T09:27:32.233" v="206" actId="1076"/>
          <ac:spMkLst>
            <pc:docMk/>
            <pc:sldMk cId="2270051247" sldId="261"/>
            <ac:spMk id="21" creationId="{6CDD5842-5437-2D00-477E-62F55A795E87}"/>
          </ac:spMkLst>
        </pc:spChg>
        <pc:spChg chg="add del">
          <ac:chgData name="Abdo YOUNES" userId="410625cc-30c9-462b-9b51-d67c878f9deb" providerId="ADAL" clId="{3CD0031A-BFCC-4C46-98F4-C146996B7387}" dt="2023-11-09T09:27:37.314" v="208" actId="22"/>
          <ac:spMkLst>
            <pc:docMk/>
            <pc:sldMk cId="2270051247" sldId="261"/>
            <ac:spMk id="23" creationId="{CB2D5086-D676-CEF9-81F1-CBFF92449D19}"/>
          </ac:spMkLst>
        </pc:spChg>
        <pc:spChg chg="add mod">
          <ac:chgData name="Abdo YOUNES" userId="410625cc-30c9-462b-9b51-d67c878f9deb" providerId="ADAL" clId="{3CD0031A-BFCC-4C46-98F4-C146996B7387}" dt="2023-11-09T09:30:57.894" v="260" actId="1076"/>
          <ac:spMkLst>
            <pc:docMk/>
            <pc:sldMk cId="2270051247" sldId="261"/>
            <ac:spMk id="25" creationId="{227FA3C2-4CED-54F9-1825-CA3821CE1624}"/>
          </ac:spMkLst>
        </pc:spChg>
        <pc:spChg chg="add mod">
          <ac:chgData name="Abdo YOUNES" userId="410625cc-30c9-462b-9b51-d67c878f9deb" providerId="ADAL" clId="{3CD0031A-BFCC-4C46-98F4-C146996B7387}" dt="2023-11-09T09:31:00.448" v="261" actId="1076"/>
          <ac:spMkLst>
            <pc:docMk/>
            <pc:sldMk cId="2270051247" sldId="261"/>
            <ac:spMk id="27" creationId="{CB79F05F-8D59-95AD-6236-7294C36011AD}"/>
          </ac:spMkLst>
        </pc:spChg>
        <pc:spChg chg="add mod">
          <ac:chgData name="Abdo YOUNES" userId="410625cc-30c9-462b-9b51-d67c878f9deb" providerId="ADAL" clId="{3CD0031A-BFCC-4C46-98F4-C146996B7387}" dt="2023-11-09T09:31:04.170" v="262" actId="1076"/>
          <ac:spMkLst>
            <pc:docMk/>
            <pc:sldMk cId="2270051247" sldId="261"/>
            <ac:spMk id="29" creationId="{5EA0A664-9903-53D3-B049-37C71D722792}"/>
          </ac:spMkLst>
        </pc:spChg>
        <pc:spChg chg="add mod">
          <ac:chgData name="Abdo YOUNES" userId="410625cc-30c9-462b-9b51-d67c878f9deb" providerId="ADAL" clId="{3CD0031A-BFCC-4C46-98F4-C146996B7387}" dt="2023-11-09T09:31:07.455" v="263" actId="1076"/>
          <ac:spMkLst>
            <pc:docMk/>
            <pc:sldMk cId="2270051247" sldId="261"/>
            <ac:spMk id="31" creationId="{BC465847-BC1D-E21E-3665-A311D9F74079}"/>
          </ac:spMkLst>
        </pc:spChg>
        <pc:spChg chg="add mod">
          <ac:chgData name="Abdo YOUNES" userId="410625cc-30c9-462b-9b51-d67c878f9deb" providerId="ADAL" clId="{3CD0031A-BFCC-4C46-98F4-C146996B7387}" dt="2023-11-09T09:30:12.396" v="246" actId="1076"/>
          <ac:spMkLst>
            <pc:docMk/>
            <pc:sldMk cId="2270051247" sldId="261"/>
            <ac:spMk id="33" creationId="{23C05177-97A9-6D81-7684-FA29336BBA0D}"/>
          </ac:spMkLst>
        </pc:spChg>
        <pc:spChg chg="add mod">
          <ac:chgData name="Abdo YOUNES" userId="410625cc-30c9-462b-9b51-d67c878f9deb" providerId="ADAL" clId="{3CD0031A-BFCC-4C46-98F4-C146996B7387}" dt="2023-11-09T09:30:16.323" v="247" actId="1076"/>
          <ac:spMkLst>
            <pc:docMk/>
            <pc:sldMk cId="2270051247" sldId="261"/>
            <ac:spMk id="35" creationId="{895B9FC3-A831-E51C-B034-FCC8A34157A8}"/>
          </ac:spMkLst>
        </pc:spChg>
        <pc:spChg chg="add mod">
          <ac:chgData name="Abdo YOUNES" userId="410625cc-30c9-462b-9b51-d67c878f9deb" providerId="ADAL" clId="{3CD0031A-BFCC-4C46-98F4-C146996B7387}" dt="2023-11-09T09:30:40.310" v="254" actId="20577"/>
          <ac:spMkLst>
            <pc:docMk/>
            <pc:sldMk cId="2270051247" sldId="261"/>
            <ac:spMk id="36" creationId="{C12443BC-41AF-B401-9913-B2DE3EB0369D}"/>
          </ac:spMkLst>
        </pc:spChg>
        <pc:spChg chg="add del mod">
          <ac:chgData name="Abdo YOUNES" userId="410625cc-30c9-462b-9b51-d67c878f9deb" providerId="ADAL" clId="{3CD0031A-BFCC-4C46-98F4-C146996B7387}" dt="2023-11-09T09:30:43.635" v="256"/>
          <ac:spMkLst>
            <pc:docMk/>
            <pc:sldMk cId="2270051247" sldId="261"/>
            <ac:spMk id="37" creationId="{7C93F24C-8A16-F92E-EF87-1C7502903696}"/>
          </ac:spMkLst>
        </pc:spChg>
        <pc:spChg chg="add mod">
          <ac:chgData name="Abdo YOUNES" userId="410625cc-30c9-462b-9b51-d67c878f9deb" providerId="ADAL" clId="{3CD0031A-BFCC-4C46-98F4-C146996B7387}" dt="2023-11-09T09:30:49.141" v="259" actId="20577"/>
          <ac:spMkLst>
            <pc:docMk/>
            <pc:sldMk cId="2270051247" sldId="261"/>
            <ac:spMk id="38" creationId="{03820C95-53D3-D350-C16E-B04D8D41C871}"/>
          </ac:spMkLst>
        </pc:spChg>
        <pc:picChg chg="add del mod">
          <ac:chgData name="Abdo YOUNES" userId="410625cc-30c9-462b-9b51-d67c878f9deb" providerId="ADAL" clId="{3CD0031A-BFCC-4C46-98F4-C146996B7387}" dt="2023-11-09T09:13:32.812" v="40"/>
          <ac:picMkLst>
            <pc:docMk/>
            <pc:sldMk cId="2270051247" sldId="261"/>
            <ac:picMk id="8" creationId="{6D2EDB92-8DAF-271E-894F-40B570491CCC}"/>
          </ac:picMkLst>
        </pc:picChg>
        <pc:picChg chg="add del mod">
          <ac:chgData name="Abdo YOUNES" userId="410625cc-30c9-462b-9b51-d67c878f9deb" providerId="ADAL" clId="{3CD0031A-BFCC-4C46-98F4-C146996B7387}" dt="2023-11-09T09:13:32.812" v="40"/>
          <ac:picMkLst>
            <pc:docMk/>
            <pc:sldMk cId="2270051247" sldId="261"/>
            <ac:picMk id="9" creationId="{C7B4D0D6-7C20-8869-C3BE-179786D31257}"/>
          </ac:picMkLst>
        </pc:picChg>
        <pc:picChg chg="add del mod">
          <ac:chgData name="Abdo YOUNES" userId="410625cc-30c9-462b-9b51-d67c878f9deb" providerId="ADAL" clId="{3CD0031A-BFCC-4C46-98F4-C146996B7387}" dt="2023-11-09T09:13:32.812" v="40"/>
          <ac:picMkLst>
            <pc:docMk/>
            <pc:sldMk cId="2270051247" sldId="261"/>
            <ac:picMk id="10" creationId="{D6325B72-8BF5-DC4B-9A62-00A971DD505E}"/>
          </ac:picMkLst>
        </pc:picChg>
        <pc:picChg chg="add del mod">
          <ac:chgData name="Abdo YOUNES" userId="410625cc-30c9-462b-9b51-d67c878f9deb" providerId="ADAL" clId="{3CD0031A-BFCC-4C46-98F4-C146996B7387}" dt="2023-11-09T09:13:32.812" v="40"/>
          <ac:picMkLst>
            <pc:docMk/>
            <pc:sldMk cId="2270051247" sldId="261"/>
            <ac:picMk id="11" creationId="{ABBF9C98-1049-8CC9-833E-A3FA19C86163}"/>
          </ac:picMkLst>
        </pc:picChg>
        <pc:picChg chg="add del mod">
          <ac:chgData name="Abdo YOUNES" userId="410625cc-30c9-462b-9b51-d67c878f9deb" providerId="ADAL" clId="{3CD0031A-BFCC-4C46-98F4-C146996B7387}" dt="2023-11-09T09:13:32.812" v="40"/>
          <ac:picMkLst>
            <pc:docMk/>
            <pc:sldMk cId="2270051247" sldId="261"/>
            <ac:picMk id="12" creationId="{F4C90343-A581-3B6A-D76F-D730E667DFA5}"/>
          </ac:picMkLst>
        </pc:picChg>
        <pc:picChg chg="add del mod">
          <ac:chgData name="Abdo YOUNES" userId="410625cc-30c9-462b-9b51-d67c878f9deb" providerId="ADAL" clId="{3CD0031A-BFCC-4C46-98F4-C146996B7387}" dt="2023-11-09T09:14:31.429" v="45" actId="931"/>
          <ac:picMkLst>
            <pc:docMk/>
            <pc:sldMk cId="2270051247" sldId="261"/>
            <ac:picMk id="14" creationId="{A239182F-2196-F965-74C5-0F26B95868E6}"/>
          </ac:picMkLst>
        </pc:picChg>
      </pc:sldChg>
      <pc:sldChg chg="addSp delSp modSp mod">
        <pc:chgData name="Abdo YOUNES" userId="410625cc-30c9-462b-9b51-d67c878f9deb" providerId="ADAL" clId="{3CD0031A-BFCC-4C46-98F4-C146996B7387}" dt="2023-11-09T09:54:53.274" v="517" actId="1076"/>
        <pc:sldMkLst>
          <pc:docMk/>
          <pc:sldMk cId="2122132644" sldId="262"/>
        </pc:sldMkLst>
        <pc:spChg chg="del">
          <ac:chgData name="Abdo YOUNES" userId="410625cc-30c9-462b-9b51-d67c878f9deb" providerId="ADAL" clId="{3CD0031A-BFCC-4C46-98F4-C146996B7387}" dt="2023-11-09T09:33:19.162" v="311" actId="478"/>
          <ac:spMkLst>
            <pc:docMk/>
            <pc:sldMk cId="2122132644" sldId="262"/>
            <ac:spMk id="2" creationId="{67B640A4-74B0-3828-3561-FD6133F52172}"/>
          </ac:spMkLst>
        </pc:spChg>
        <pc:spChg chg="del">
          <ac:chgData name="Abdo YOUNES" userId="410625cc-30c9-462b-9b51-d67c878f9deb" providerId="ADAL" clId="{3CD0031A-BFCC-4C46-98F4-C146996B7387}" dt="2023-11-09T09:33:19.996" v="312" actId="478"/>
          <ac:spMkLst>
            <pc:docMk/>
            <pc:sldMk cId="2122132644" sldId="262"/>
            <ac:spMk id="3" creationId="{C7BD3240-DD5A-4667-649C-CD9F7B0F3546}"/>
          </ac:spMkLst>
        </pc:spChg>
        <pc:spChg chg="mod">
          <ac:chgData name="Abdo YOUNES" userId="410625cc-30c9-462b-9b51-d67c878f9deb" providerId="ADAL" clId="{3CD0031A-BFCC-4C46-98F4-C146996B7387}" dt="2023-11-09T09:54:53.274" v="517" actId="1076"/>
          <ac:spMkLst>
            <pc:docMk/>
            <pc:sldMk cId="2122132644" sldId="262"/>
            <ac:spMk id="4" creationId="{9411F6CD-33D5-95B0-3CE7-2C6562F78FD7}"/>
          </ac:spMkLst>
        </pc:spChg>
        <pc:spChg chg="mod">
          <ac:chgData name="Abdo YOUNES" userId="410625cc-30c9-462b-9b51-d67c878f9deb" providerId="ADAL" clId="{3CD0031A-BFCC-4C46-98F4-C146996B7387}" dt="2023-11-09T09:54:50.113" v="516" actId="1076"/>
          <ac:spMkLst>
            <pc:docMk/>
            <pc:sldMk cId="2122132644" sldId="262"/>
            <ac:spMk id="5" creationId="{CE926717-48A0-9B74-B8A3-F6B4112D0B16}"/>
          </ac:spMkLst>
        </pc:spChg>
        <pc:spChg chg="add mod">
          <ac:chgData name="Abdo YOUNES" userId="410625cc-30c9-462b-9b51-d67c878f9deb" providerId="ADAL" clId="{3CD0031A-BFCC-4C46-98F4-C146996B7387}" dt="2023-11-09T09:20:52.094" v="101"/>
          <ac:spMkLst>
            <pc:docMk/>
            <pc:sldMk cId="2122132644" sldId="262"/>
            <ac:spMk id="7" creationId="{E4638AB9-99B7-909E-56DE-4CCC0D9A80C6}"/>
          </ac:spMkLst>
        </pc:spChg>
        <pc:spChg chg="add del mod">
          <ac:chgData name="Abdo YOUNES" userId="410625cc-30c9-462b-9b51-d67c878f9deb" providerId="ADAL" clId="{3CD0031A-BFCC-4C46-98F4-C146996B7387}" dt="2023-11-09T09:33:36.240" v="316"/>
          <ac:spMkLst>
            <pc:docMk/>
            <pc:sldMk cId="2122132644" sldId="262"/>
            <ac:spMk id="8" creationId="{8F98F794-89AA-193D-FABF-BB01700287DB}"/>
          </ac:spMkLst>
        </pc:spChg>
        <pc:spChg chg="add mod">
          <ac:chgData name="Abdo YOUNES" userId="410625cc-30c9-462b-9b51-d67c878f9deb" providerId="ADAL" clId="{3CD0031A-BFCC-4C46-98F4-C146996B7387}" dt="2023-11-09T09:41:48.583" v="415" actId="1076"/>
          <ac:spMkLst>
            <pc:docMk/>
            <pc:sldMk cId="2122132644" sldId="262"/>
            <ac:spMk id="11" creationId="{84FDE6D0-B804-0B48-DEB6-B233934BABEB}"/>
          </ac:spMkLst>
        </pc:spChg>
        <pc:spChg chg="add mod">
          <ac:chgData name="Abdo YOUNES" userId="410625cc-30c9-462b-9b51-d67c878f9deb" providerId="ADAL" clId="{3CD0031A-BFCC-4C46-98F4-C146996B7387}" dt="2023-11-09T09:40:01.736" v="412" actId="114"/>
          <ac:spMkLst>
            <pc:docMk/>
            <pc:sldMk cId="2122132644" sldId="262"/>
            <ac:spMk id="14" creationId="{A6EAF922-F0B7-F2A9-AF0E-2456E6FEC174}"/>
          </ac:spMkLst>
        </pc:spChg>
        <pc:spChg chg="add mod">
          <ac:chgData name="Abdo YOUNES" userId="410625cc-30c9-462b-9b51-d67c878f9deb" providerId="ADAL" clId="{3CD0031A-BFCC-4C46-98F4-C146996B7387}" dt="2023-11-09T09:40:09.250" v="413" actId="108"/>
          <ac:spMkLst>
            <pc:docMk/>
            <pc:sldMk cId="2122132644" sldId="262"/>
            <ac:spMk id="18" creationId="{425734CD-5762-3055-C89B-A15518467198}"/>
          </ac:spMkLst>
        </pc:spChg>
        <pc:spChg chg="add mod">
          <ac:chgData name="Abdo YOUNES" userId="410625cc-30c9-462b-9b51-d67c878f9deb" providerId="ADAL" clId="{3CD0031A-BFCC-4C46-98F4-C146996B7387}" dt="2023-11-09T09:36:19.117" v="350" actId="1076"/>
          <ac:spMkLst>
            <pc:docMk/>
            <pc:sldMk cId="2122132644" sldId="262"/>
            <ac:spMk id="22" creationId="{BF03F78F-5F42-AE05-DFF8-4573D0A4A509}"/>
          </ac:spMkLst>
        </pc:spChg>
        <pc:spChg chg="add mod">
          <ac:chgData name="Abdo YOUNES" userId="410625cc-30c9-462b-9b51-d67c878f9deb" providerId="ADAL" clId="{3CD0031A-BFCC-4C46-98F4-C146996B7387}" dt="2023-11-09T09:36:20.256" v="352" actId="108"/>
          <ac:spMkLst>
            <pc:docMk/>
            <pc:sldMk cId="2122132644" sldId="262"/>
            <ac:spMk id="23" creationId="{056B2DA2-982C-A85B-4409-5743BDA4FB40}"/>
          </ac:spMkLst>
        </pc:spChg>
        <pc:spChg chg="add del mod">
          <ac:chgData name="Abdo YOUNES" userId="410625cc-30c9-462b-9b51-d67c878f9deb" providerId="ADAL" clId="{3CD0031A-BFCC-4C46-98F4-C146996B7387}" dt="2023-11-09T09:35:27.032" v="337"/>
          <ac:spMkLst>
            <pc:docMk/>
            <pc:sldMk cId="2122132644" sldId="262"/>
            <ac:spMk id="24" creationId="{BEC2B877-CE69-2BA1-24D8-60D7A24FF5A6}"/>
          </ac:spMkLst>
        </pc:spChg>
        <pc:spChg chg="add del mod">
          <ac:chgData name="Abdo YOUNES" userId="410625cc-30c9-462b-9b51-d67c878f9deb" providerId="ADAL" clId="{3CD0031A-BFCC-4C46-98F4-C146996B7387}" dt="2023-11-09T09:35:27.032" v="337"/>
          <ac:spMkLst>
            <pc:docMk/>
            <pc:sldMk cId="2122132644" sldId="262"/>
            <ac:spMk id="25" creationId="{EBDDFDAC-DD42-B2D8-823C-0D270B8C2D73}"/>
          </ac:spMkLst>
        </pc:spChg>
        <pc:spChg chg="add del mod">
          <ac:chgData name="Abdo YOUNES" userId="410625cc-30c9-462b-9b51-d67c878f9deb" providerId="ADAL" clId="{3CD0031A-BFCC-4C46-98F4-C146996B7387}" dt="2023-11-09T09:35:31.042" v="339"/>
          <ac:spMkLst>
            <pc:docMk/>
            <pc:sldMk cId="2122132644" sldId="262"/>
            <ac:spMk id="26" creationId="{93994714-EB31-A4EB-8B61-B1CF023AC8DE}"/>
          </ac:spMkLst>
        </pc:spChg>
        <pc:spChg chg="add del mod">
          <ac:chgData name="Abdo YOUNES" userId="410625cc-30c9-462b-9b51-d67c878f9deb" providerId="ADAL" clId="{3CD0031A-BFCC-4C46-98F4-C146996B7387}" dt="2023-11-09T09:35:31.042" v="339"/>
          <ac:spMkLst>
            <pc:docMk/>
            <pc:sldMk cId="2122132644" sldId="262"/>
            <ac:spMk id="27" creationId="{D7789BBF-CFA6-19BD-2F26-976A67B1B74A}"/>
          </ac:spMkLst>
        </pc:spChg>
        <pc:spChg chg="add del mod">
          <ac:chgData name="Abdo YOUNES" userId="410625cc-30c9-462b-9b51-d67c878f9deb" providerId="ADAL" clId="{3CD0031A-BFCC-4C46-98F4-C146996B7387}" dt="2023-11-09T09:35:36.530" v="341"/>
          <ac:spMkLst>
            <pc:docMk/>
            <pc:sldMk cId="2122132644" sldId="262"/>
            <ac:spMk id="28" creationId="{42A27DFA-0010-858B-1DB8-228A07441414}"/>
          </ac:spMkLst>
        </pc:spChg>
        <pc:spChg chg="add del mod">
          <ac:chgData name="Abdo YOUNES" userId="410625cc-30c9-462b-9b51-d67c878f9deb" providerId="ADAL" clId="{3CD0031A-BFCC-4C46-98F4-C146996B7387}" dt="2023-11-09T09:35:36.530" v="341"/>
          <ac:spMkLst>
            <pc:docMk/>
            <pc:sldMk cId="2122132644" sldId="262"/>
            <ac:spMk id="29" creationId="{AE9A2F8A-4B27-3278-F7CC-4E0EC63E7365}"/>
          </ac:spMkLst>
        </pc:spChg>
        <pc:spChg chg="add mod ord">
          <ac:chgData name="Abdo YOUNES" userId="410625cc-30c9-462b-9b51-d67c878f9deb" providerId="ADAL" clId="{3CD0031A-BFCC-4C46-98F4-C146996B7387}" dt="2023-11-09T09:38:14.459" v="370" actId="1076"/>
          <ac:spMkLst>
            <pc:docMk/>
            <pc:sldMk cId="2122132644" sldId="262"/>
            <ac:spMk id="30" creationId="{B3580518-21D3-513F-1AEE-D5FE392FA7A3}"/>
          </ac:spMkLst>
        </pc:spChg>
        <pc:spChg chg="add mod">
          <ac:chgData name="Abdo YOUNES" userId="410625cc-30c9-462b-9b51-d67c878f9deb" providerId="ADAL" clId="{3CD0031A-BFCC-4C46-98F4-C146996B7387}" dt="2023-11-09T09:36:31.613" v="356" actId="1076"/>
          <ac:spMkLst>
            <pc:docMk/>
            <pc:sldMk cId="2122132644" sldId="262"/>
            <ac:spMk id="31" creationId="{5FC55299-6934-CD7E-D811-DB7FE3B1F0A6}"/>
          </ac:spMkLst>
        </pc:spChg>
        <pc:spChg chg="add mod">
          <ac:chgData name="Abdo YOUNES" userId="410625cc-30c9-462b-9b51-d67c878f9deb" providerId="ADAL" clId="{3CD0031A-BFCC-4C46-98F4-C146996B7387}" dt="2023-11-09T09:38:41.464" v="376" actId="20577"/>
          <ac:spMkLst>
            <pc:docMk/>
            <pc:sldMk cId="2122132644" sldId="262"/>
            <ac:spMk id="32" creationId="{5BD0D8A9-5235-BC12-60BC-F012AEB94918}"/>
          </ac:spMkLst>
        </pc:spChg>
        <pc:spChg chg="add mod">
          <ac:chgData name="Abdo YOUNES" userId="410625cc-30c9-462b-9b51-d67c878f9deb" providerId="ADAL" clId="{3CD0031A-BFCC-4C46-98F4-C146996B7387}" dt="2023-11-09T09:38:24.159" v="371" actId="1076"/>
          <ac:spMkLst>
            <pc:docMk/>
            <pc:sldMk cId="2122132644" sldId="262"/>
            <ac:spMk id="33" creationId="{50F5446A-046D-4C02-A966-F940271F8827}"/>
          </ac:spMkLst>
        </pc:spChg>
        <pc:spChg chg="add mod">
          <ac:chgData name="Abdo YOUNES" userId="410625cc-30c9-462b-9b51-d67c878f9deb" providerId="ADAL" clId="{3CD0031A-BFCC-4C46-98F4-C146996B7387}" dt="2023-11-09T09:38:51.673" v="380" actId="20577"/>
          <ac:spMkLst>
            <pc:docMk/>
            <pc:sldMk cId="2122132644" sldId="262"/>
            <ac:spMk id="34" creationId="{50195EFA-EDA2-577C-C47F-59F202950E72}"/>
          </ac:spMkLst>
        </pc:spChg>
        <pc:spChg chg="add del mod">
          <ac:chgData name="Abdo YOUNES" userId="410625cc-30c9-462b-9b51-d67c878f9deb" providerId="ADAL" clId="{3CD0031A-BFCC-4C46-98F4-C146996B7387}" dt="2023-11-09T09:39:04.054" v="383" actId="478"/>
          <ac:spMkLst>
            <pc:docMk/>
            <pc:sldMk cId="2122132644" sldId="262"/>
            <ac:spMk id="35" creationId="{AC751622-0D7E-DEC1-C3C4-6AD240FC8175}"/>
          </ac:spMkLst>
        </pc:spChg>
        <pc:spChg chg="add mod">
          <ac:chgData name="Abdo YOUNES" userId="410625cc-30c9-462b-9b51-d67c878f9deb" providerId="ADAL" clId="{3CD0031A-BFCC-4C46-98F4-C146996B7387}" dt="2023-11-09T09:39:17.627" v="401" actId="255"/>
          <ac:spMkLst>
            <pc:docMk/>
            <pc:sldMk cId="2122132644" sldId="262"/>
            <ac:spMk id="36" creationId="{F03CEEF6-0B7B-1AE8-175F-8A2E919F3CF0}"/>
          </ac:spMkLst>
        </pc:spChg>
        <pc:picChg chg="add mod">
          <ac:chgData name="Abdo YOUNES" userId="410625cc-30c9-462b-9b51-d67c878f9deb" providerId="ADAL" clId="{3CD0031A-BFCC-4C46-98F4-C146996B7387}" dt="2023-11-09T09:37:57.215" v="364" actId="1076"/>
          <ac:picMkLst>
            <pc:docMk/>
            <pc:sldMk cId="2122132644" sldId="262"/>
            <ac:picMk id="9" creationId="{E43BEA28-3256-A8CD-DE68-4AC4A44EDA30}"/>
          </ac:picMkLst>
        </pc:picChg>
        <pc:picChg chg="add del mod">
          <ac:chgData name="Abdo YOUNES" userId="410625cc-30c9-462b-9b51-d67c878f9deb" providerId="ADAL" clId="{3CD0031A-BFCC-4C46-98F4-C146996B7387}" dt="2023-11-09T09:37:54.909" v="363" actId="478"/>
          <ac:picMkLst>
            <pc:docMk/>
            <pc:sldMk cId="2122132644" sldId="262"/>
            <ac:picMk id="10" creationId="{0AF2D489-B10F-27BA-0F4D-2BDBB2D5CCB2}"/>
          </ac:picMkLst>
        </pc:picChg>
        <pc:picChg chg="add mod">
          <ac:chgData name="Abdo YOUNES" userId="410625cc-30c9-462b-9b51-d67c878f9deb" providerId="ADAL" clId="{3CD0031A-BFCC-4C46-98F4-C146996B7387}" dt="2023-11-09T09:34:08.634" v="325" actId="1076"/>
          <ac:picMkLst>
            <pc:docMk/>
            <pc:sldMk cId="2122132644" sldId="262"/>
            <ac:picMk id="12" creationId="{BD80E97C-3B67-19A9-C4C4-3BC57E80DCC1}"/>
          </ac:picMkLst>
        </pc:picChg>
        <pc:picChg chg="add mod">
          <ac:chgData name="Abdo YOUNES" userId="410625cc-30c9-462b-9b51-d67c878f9deb" providerId="ADAL" clId="{3CD0031A-BFCC-4C46-98F4-C146996B7387}" dt="2023-11-09T09:34:06.765" v="324" actId="1076"/>
          <ac:picMkLst>
            <pc:docMk/>
            <pc:sldMk cId="2122132644" sldId="262"/>
            <ac:picMk id="13" creationId="{1D163F1B-A7B1-0C8E-F645-530CB589726E}"/>
          </ac:picMkLst>
        </pc:picChg>
        <pc:picChg chg="add mod">
          <ac:chgData name="Abdo YOUNES" userId="410625cc-30c9-462b-9b51-d67c878f9deb" providerId="ADAL" clId="{3CD0031A-BFCC-4C46-98F4-C146996B7387}" dt="2023-11-09T09:34:25.283" v="327" actId="1076"/>
          <ac:picMkLst>
            <pc:docMk/>
            <pc:sldMk cId="2122132644" sldId="262"/>
            <ac:picMk id="15" creationId="{1F5DF3A9-5F50-FB16-0B2E-4A1F77F2E2E0}"/>
          </ac:picMkLst>
        </pc:picChg>
        <pc:picChg chg="add mod">
          <ac:chgData name="Abdo YOUNES" userId="410625cc-30c9-462b-9b51-d67c878f9deb" providerId="ADAL" clId="{3CD0031A-BFCC-4C46-98F4-C146996B7387}" dt="2023-11-09T09:34:25.283" v="327" actId="1076"/>
          <ac:picMkLst>
            <pc:docMk/>
            <pc:sldMk cId="2122132644" sldId="262"/>
            <ac:picMk id="16" creationId="{2466F77D-8988-2210-F60D-88322F059E09}"/>
          </ac:picMkLst>
        </pc:picChg>
        <pc:picChg chg="add mod">
          <ac:chgData name="Abdo YOUNES" userId="410625cc-30c9-462b-9b51-d67c878f9deb" providerId="ADAL" clId="{3CD0031A-BFCC-4C46-98F4-C146996B7387}" dt="2023-11-09T09:34:25.283" v="327" actId="1076"/>
          <ac:picMkLst>
            <pc:docMk/>
            <pc:sldMk cId="2122132644" sldId="262"/>
            <ac:picMk id="17" creationId="{7E8B7004-1422-E4D0-E043-4BF4A7364064}"/>
          </ac:picMkLst>
        </pc:picChg>
        <pc:picChg chg="add mod">
          <ac:chgData name="Abdo YOUNES" userId="410625cc-30c9-462b-9b51-d67c878f9deb" providerId="ADAL" clId="{3CD0031A-BFCC-4C46-98F4-C146996B7387}" dt="2023-11-09T09:34:37.335" v="329" actId="1076"/>
          <ac:picMkLst>
            <pc:docMk/>
            <pc:sldMk cId="2122132644" sldId="262"/>
            <ac:picMk id="19" creationId="{C5C3B148-3EB0-610C-4D2F-43F35FAE69CA}"/>
          </ac:picMkLst>
        </pc:picChg>
        <pc:picChg chg="add mod">
          <ac:chgData name="Abdo YOUNES" userId="410625cc-30c9-462b-9b51-d67c878f9deb" providerId="ADAL" clId="{3CD0031A-BFCC-4C46-98F4-C146996B7387}" dt="2023-11-09T09:34:37.335" v="329" actId="1076"/>
          <ac:picMkLst>
            <pc:docMk/>
            <pc:sldMk cId="2122132644" sldId="262"/>
            <ac:picMk id="20" creationId="{9357F079-A00A-F1C0-287E-0A39AFEB9A50}"/>
          </ac:picMkLst>
        </pc:picChg>
        <pc:picChg chg="add mod">
          <ac:chgData name="Abdo YOUNES" userId="410625cc-30c9-462b-9b51-d67c878f9deb" providerId="ADAL" clId="{3CD0031A-BFCC-4C46-98F4-C146996B7387}" dt="2023-11-09T09:34:37.335" v="329" actId="1076"/>
          <ac:picMkLst>
            <pc:docMk/>
            <pc:sldMk cId="2122132644" sldId="262"/>
            <ac:picMk id="21" creationId="{6CE396BE-35D6-F722-61E9-2B0AC43F5560}"/>
          </ac:picMkLst>
        </pc:picChg>
      </pc:sldChg>
      <pc:sldChg chg="addSp delSp modSp mod">
        <pc:chgData name="Abdo YOUNES" userId="410625cc-30c9-462b-9b51-d67c878f9deb" providerId="ADAL" clId="{3CD0031A-BFCC-4C46-98F4-C146996B7387}" dt="2023-11-09T09:52:19.890" v="512" actId="1076"/>
        <pc:sldMkLst>
          <pc:docMk/>
          <pc:sldMk cId="1571575077" sldId="263"/>
        </pc:sldMkLst>
        <pc:spChg chg="mod">
          <ac:chgData name="Abdo YOUNES" userId="410625cc-30c9-462b-9b51-d67c878f9deb" providerId="ADAL" clId="{3CD0031A-BFCC-4C46-98F4-C146996B7387}" dt="2023-11-09T09:46:29.221" v="459" actId="1076"/>
          <ac:spMkLst>
            <pc:docMk/>
            <pc:sldMk cId="1571575077" sldId="263"/>
            <ac:spMk id="2" creationId="{C3EA9456-6FA9-C391-96FB-05C6F96FE0DF}"/>
          </ac:spMkLst>
        </pc:spChg>
        <pc:spChg chg="mod">
          <ac:chgData name="Abdo YOUNES" userId="410625cc-30c9-462b-9b51-d67c878f9deb" providerId="ADAL" clId="{3CD0031A-BFCC-4C46-98F4-C146996B7387}" dt="2023-11-09T09:46:26.222" v="458" actId="1076"/>
          <ac:spMkLst>
            <pc:docMk/>
            <pc:sldMk cId="1571575077" sldId="263"/>
            <ac:spMk id="3" creationId="{670C5D04-2877-E1FA-5415-0BC95E0F27E2}"/>
          </ac:spMkLst>
        </pc:spChg>
        <pc:spChg chg="del">
          <ac:chgData name="Abdo YOUNES" userId="410625cc-30c9-462b-9b51-d67c878f9deb" providerId="ADAL" clId="{3CD0031A-BFCC-4C46-98F4-C146996B7387}" dt="2023-11-09T09:43:28.722" v="421" actId="478"/>
          <ac:spMkLst>
            <pc:docMk/>
            <pc:sldMk cId="1571575077" sldId="263"/>
            <ac:spMk id="4" creationId="{BF36FD90-CCA3-5D6A-0050-430267548A0F}"/>
          </ac:spMkLst>
        </pc:spChg>
        <pc:spChg chg="del">
          <ac:chgData name="Abdo YOUNES" userId="410625cc-30c9-462b-9b51-d67c878f9deb" providerId="ADAL" clId="{3CD0031A-BFCC-4C46-98F4-C146996B7387}" dt="2023-11-09T09:43:27.157" v="420" actId="478"/>
          <ac:spMkLst>
            <pc:docMk/>
            <pc:sldMk cId="1571575077" sldId="263"/>
            <ac:spMk id="5" creationId="{BA7339A2-0499-67C4-C6A6-FC7EA394F03B}"/>
          </ac:spMkLst>
        </pc:spChg>
        <pc:spChg chg="add mod">
          <ac:chgData name="Abdo YOUNES" userId="410625cc-30c9-462b-9b51-d67c878f9deb" providerId="ADAL" clId="{3CD0031A-BFCC-4C46-98F4-C146996B7387}" dt="2023-11-09T09:20:56.345" v="106" actId="1036"/>
          <ac:spMkLst>
            <pc:docMk/>
            <pc:sldMk cId="1571575077" sldId="263"/>
            <ac:spMk id="7" creationId="{641584A0-FE6C-A9AC-02F9-99A1652B71A4}"/>
          </ac:spMkLst>
        </pc:spChg>
        <pc:spChg chg="add del mod">
          <ac:chgData name="Abdo YOUNES" userId="410625cc-30c9-462b-9b51-d67c878f9deb" providerId="ADAL" clId="{3CD0031A-BFCC-4C46-98F4-C146996B7387}" dt="2023-11-09T09:20:55.541" v="105"/>
          <ac:spMkLst>
            <pc:docMk/>
            <pc:sldMk cId="1571575077" sldId="263"/>
            <ac:spMk id="8" creationId="{04C0B559-78F8-C697-6B62-07CFBBEACA68}"/>
          </ac:spMkLst>
        </pc:spChg>
        <pc:spChg chg="add mod">
          <ac:chgData name="Abdo YOUNES" userId="410625cc-30c9-462b-9b51-d67c878f9deb" providerId="ADAL" clId="{3CD0031A-BFCC-4C46-98F4-C146996B7387}" dt="2023-11-09T09:46:44.378" v="461" actId="164"/>
          <ac:spMkLst>
            <pc:docMk/>
            <pc:sldMk cId="1571575077" sldId="263"/>
            <ac:spMk id="9" creationId="{2AFACA5F-5DD6-C0DB-B641-1397FF4F6632}"/>
          </ac:spMkLst>
        </pc:spChg>
        <pc:spChg chg="add mod">
          <ac:chgData name="Abdo YOUNES" userId="410625cc-30c9-462b-9b51-d67c878f9deb" providerId="ADAL" clId="{3CD0031A-BFCC-4C46-98F4-C146996B7387}" dt="2023-11-09T09:46:44.378" v="461" actId="164"/>
          <ac:spMkLst>
            <pc:docMk/>
            <pc:sldMk cId="1571575077" sldId="263"/>
            <ac:spMk id="11" creationId="{4FE30903-7992-8040-C0E0-08F96CE7DEDA}"/>
          </ac:spMkLst>
        </pc:spChg>
        <pc:spChg chg="mod">
          <ac:chgData name="Abdo YOUNES" userId="410625cc-30c9-462b-9b51-d67c878f9deb" providerId="ADAL" clId="{3CD0031A-BFCC-4C46-98F4-C146996B7387}" dt="2023-11-09T09:44:07.726" v="430"/>
          <ac:spMkLst>
            <pc:docMk/>
            <pc:sldMk cId="1571575077" sldId="263"/>
            <ac:spMk id="15" creationId="{11AB4FB8-539C-F72D-3042-57C741CC27B9}"/>
          </ac:spMkLst>
        </pc:spChg>
        <pc:spChg chg="mod">
          <ac:chgData name="Abdo YOUNES" userId="410625cc-30c9-462b-9b51-d67c878f9deb" providerId="ADAL" clId="{3CD0031A-BFCC-4C46-98F4-C146996B7387}" dt="2023-11-09T09:44:07.726" v="430"/>
          <ac:spMkLst>
            <pc:docMk/>
            <pc:sldMk cId="1571575077" sldId="263"/>
            <ac:spMk id="18" creationId="{0D118527-B16E-F188-E00F-04A898D340D1}"/>
          </ac:spMkLst>
        </pc:spChg>
        <pc:spChg chg="mod">
          <ac:chgData name="Abdo YOUNES" userId="410625cc-30c9-462b-9b51-d67c878f9deb" providerId="ADAL" clId="{3CD0031A-BFCC-4C46-98F4-C146996B7387}" dt="2023-11-09T09:44:07.726" v="430"/>
          <ac:spMkLst>
            <pc:docMk/>
            <pc:sldMk cId="1571575077" sldId="263"/>
            <ac:spMk id="19" creationId="{A92A0D03-1590-0A11-A2AF-1E658FEFCEE1}"/>
          </ac:spMkLst>
        </pc:spChg>
        <pc:spChg chg="mod">
          <ac:chgData name="Abdo YOUNES" userId="410625cc-30c9-462b-9b51-d67c878f9deb" providerId="ADAL" clId="{3CD0031A-BFCC-4C46-98F4-C146996B7387}" dt="2023-11-09T09:44:07.726" v="430"/>
          <ac:spMkLst>
            <pc:docMk/>
            <pc:sldMk cId="1571575077" sldId="263"/>
            <ac:spMk id="20" creationId="{39CB9025-A02E-D485-3D8B-0E540BB0C303}"/>
          </ac:spMkLst>
        </pc:spChg>
        <pc:spChg chg="mod">
          <ac:chgData name="Abdo YOUNES" userId="410625cc-30c9-462b-9b51-d67c878f9deb" providerId="ADAL" clId="{3CD0031A-BFCC-4C46-98F4-C146996B7387}" dt="2023-11-09T09:47:14.332" v="464" actId="1076"/>
          <ac:spMkLst>
            <pc:docMk/>
            <pc:sldMk cId="1571575077" sldId="263"/>
            <ac:spMk id="21" creationId="{E0F8D732-7EEE-00CB-E43E-19F073C27E88}"/>
          </ac:spMkLst>
        </pc:spChg>
        <pc:spChg chg="mod">
          <ac:chgData name="Abdo YOUNES" userId="410625cc-30c9-462b-9b51-d67c878f9deb" providerId="ADAL" clId="{3CD0031A-BFCC-4C46-98F4-C146996B7387}" dt="2023-11-09T09:47:47.320" v="471" actId="1076"/>
          <ac:spMkLst>
            <pc:docMk/>
            <pc:sldMk cId="1571575077" sldId="263"/>
            <ac:spMk id="22" creationId="{C80E31E0-8267-FCDE-CB00-FA5A0C942D09}"/>
          </ac:spMkLst>
        </pc:spChg>
        <pc:spChg chg="mod">
          <ac:chgData name="Abdo YOUNES" userId="410625cc-30c9-462b-9b51-d67c878f9deb" providerId="ADAL" clId="{3CD0031A-BFCC-4C46-98F4-C146996B7387}" dt="2023-11-09T09:47:38.986" v="469" actId="1076"/>
          <ac:spMkLst>
            <pc:docMk/>
            <pc:sldMk cId="1571575077" sldId="263"/>
            <ac:spMk id="23" creationId="{85DD2D43-2419-5DE7-A41C-82B8DC77A4D8}"/>
          </ac:spMkLst>
        </pc:spChg>
        <pc:spChg chg="mod">
          <ac:chgData name="Abdo YOUNES" userId="410625cc-30c9-462b-9b51-d67c878f9deb" providerId="ADAL" clId="{3CD0031A-BFCC-4C46-98F4-C146996B7387}" dt="2023-11-09T09:47:22.571" v="466" actId="1076"/>
          <ac:spMkLst>
            <pc:docMk/>
            <pc:sldMk cId="1571575077" sldId="263"/>
            <ac:spMk id="24" creationId="{3D465B86-C14A-EA2F-EFBF-0F1AE46F1F7B}"/>
          </ac:spMkLst>
        </pc:spChg>
        <pc:spChg chg="mod">
          <ac:chgData name="Abdo YOUNES" userId="410625cc-30c9-462b-9b51-d67c878f9deb" providerId="ADAL" clId="{3CD0031A-BFCC-4C46-98F4-C146996B7387}" dt="2023-11-09T09:48:36.376" v="484"/>
          <ac:spMkLst>
            <pc:docMk/>
            <pc:sldMk cId="1571575077" sldId="263"/>
            <ac:spMk id="25" creationId="{A773DEBC-6EE3-81D2-AE74-31F8B19C3A68}"/>
          </ac:spMkLst>
        </pc:spChg>
        <pc:spChg chg="mod">
          <ac:chgData name="Abdo YOUNES" userId="410625cc-30c9-462b-9b51-d67c878f9deb" providerId="ADAL" clId="{3CD0031A-BFCC-4C46-98F4-C146996B7387}" dt="2023-11-09T09:47:42.233" v="470" actId="1076"/>
          <ac:spMkLst>
            <pc:docMk/>
            <pc:sldMk cId="1571575077" sldId="263"/>
            <ac:spMk id="26" creationId="{D08AC436-5399-4EFF-6D89-2F3DD123A029}"/>
          </ac:spMkLst>
        </pc:spChg>
        <pc:spChg chg="add mod">
          <ac:chgData name="Abdo YOUNES" userId="410625cc-30c9-462b-9b51-d67c878f9deb" providerId="ADAL" clId="{3CD0031A-BFCC-4C46-98F4-C146996B7387}" dt="2023-11-09T09:44:18.715" v="433" actId="1076"/>
          <ac:spMkLst>
            <pc:docMk/>
            <pc:sldMk cId="1571575077" sldId="263"/>
            <ac:spMk id="27" creationId="{64045E92-54AD-F1D6-794B-340895570F17}"/>
          </ac:spMkLst>
        </pc:spChg>
        <pc:spChg chg="add mod">
          <ac:chgData name="Abdo YOUNES" userId="410625cc-30c9-462b-9b51-d67c878f9deb" providerId="ADAL" clId="{3CD0031A-BFCC-4C46-98F4-C146996B7387}" dt="2023-11-09T09:47:57.275" v="473" actId="1076"/>
          <ac:spMkLst>
            <pc:docMk/>
            <pc:sldMk cId="1571575077" sldId="263"/>
            <ac:spMk id="30" creationId="{4CD965ED-DAAB-0574-5A1A-CF0147D7403A}"/>
          </ac:spMkLst>
        </pc:spChg>
        <pc:spChg chg="add mod">
          <ac:chgData name="Abdo YOUNES" userId="410625cc-30c9-462b-9b51-d67c878f9deb" providerId="ADAL" clId="{3CD0031A-BFCC-4C46-98F4-C146996B7387}" dt="2023-11-09T09:48:05.895" v="476" actId="1076"/>
          <ac:spMkLst>
            <pc:docMk/>
            <pc:sldMk cId="1571575077" sldId="263"/>
            <ac:spMk id="33" creationId="{DEB1C528-DD48-14F4-9A4A-4E7673A4D272}"/>
          </ac:spMkLst>
        </pc:spChg>
        <pc:spChg chg="add mod">
          <ac:chgData name="Abdo YOUNES" userId="410625cc-30c9-462b-9b51-d67c878f9deb" providerId="ADAL" clId="{3CD0031A-BFCC-4C46-98F4-C146996B7387}" dt="2023-11-09T09:50:10.252" v="505" actId="1076"/>
          <ac:spMkLst>
            <pc:docMk/>
            <pc:sldMk cId="1571575077" sldId="263"/>
            <ac:spMk id="36" creationId="{EAD1B9C8-DCB1-38E3-ACEA-DBD7F1852C24}"/>
          </ac:spMkLst>
        </pc:spChg>
        <pc:spChg chg="add del mod">
          <ac:chgData name="Abdo YOUNES" userId="410625cc-30c9-462b-9b51-d67c878f9deb" providerId="ADAL" clId="{3CD0031A-BFCC-4C46-98F4-C146996B7387}" dt="2023-11-09T09:45:58.817" v="452"/>
          <ac:spMkLst>
            <pc:docMk/>
            <pc:sldMk cId="1571575077" sldId="263"/>
            <ac:spMk id="39" creationId="{EF2107BB-A398-81FB-8205-AF5927CA1442}"/>
          </ac:spMkLst>
        </pc:spChg>
        <pc:spChg chg="add del mod">
          <ac:chgData name="Abdo YOUNES" userId="410625cc-30c9-462b-9b51-d67c878f9deb" providerId="ADAL" clId="{3CD0031A-BFCC-4C46-98F4-C146996B7387}" dt="2023-11-09T09:45:58.817" v="452"/>
          <ac:spMkLst>
            <pc:docMk/>
            <pc:sldMk cId="1571575077" sldId="263"/>
            <ac:spMk id="40" creationId="{22B07047-50A0-2AE0-48E9-0BB9204F7431}"/>
          </ac:spMkLst>
        </pc:spChg>
        <pc:spChg chg="add mod">
          <ac:chgData name="Abdo YOUNES" userId="410625cc-30c9-462b-9b51-d67c878f9deb" providerId="ADAL" clId="{3CD0031A-BFCC-4C46-98F4-C146996B7387}" dt="2023-11-09T09:49:02.086" v="490" actId="108"/>
          <ac:spMkLst>
            <pc:docMk/>
            <pc:sldMk cId="1571575077" sldId="263"/>
            <ac:spMk id="43" creationId="{7FC6D707-502E-C7CD-1EAA-48FF36889A03}"/>
          </ac:spMkLst>
        </pc:spChg>
        <pc:spChg chg="add mod">
          <ac:chgData name="Abdo YOUNES" userId="410625cc-30c9-462b-9b51-d67c878f9deb" providerId="ADAL" clId="{3CD0031A-BFCC-4C46-98F4-C146996B7387}" dt="2023-11-09T09:52:13.150" v="510" actId="1076"/>
          <ac:spMkLst>
            <pc:docMk/>
            <pc:sldMk cId="1571575077" sldId="263"/>
            <ac:spMk id="45" creationId="{B8CEE908-519E-8CCE-E6B0-2AA2965FFF08}"/>
          </ac:spMkLst>
        </pc:spChg>
        <pc:spChg chg="add mod">
          <ac:chgData name="Abdo YOUNES" userId="410625cc-30c9-462b-9b51-d67c878f9deb" providerId="ADAL" clId="{3CD0031A-BFCC-4C46-98F4-C146996B7387}" dt="2023-11-09T09:52:19.890" v="512" actId="1076"/>
          <ac:spMkLst>
            <pc:docMk/>
            <pc:sldMk cId="1571575077" sldId="263"/>
            <ac:spMk id="46" creationId="{9B8FC121-325F-7BA6-557D-A0C46605FFC6}"/>
          </ac:spMkLst>
        </pc:spChg>
        <pc:grpChg chg="add mod">
          <ac:chgData name="Abdo YOUNES" userId="410625cc-30c9-462b-9b51-d67c878f9deb" providerId="ADAL" clId="{3CD0031A-BFCC-4C46-98F4-C146996B7387}" dt="2023-11-09T09:44:10.785" v="431" actId="1076"/>
          <ac:grpSpMkLst>
            <pc:docMk/>
            <pc:sldMk cId="1571575077" sldId="263"/>
            <ac:grpSpMk id="13" creationId="{CDC30B2F-FCED-1D0D-7BF9-AFAA357AB9B9}"/>
          </ac:grpSpMkLst>
        </pc:grpChg>
        <pc:grpChg chg="mod">
          <ac:chgData name="Abdo YOUNES" userId="410625cc-30c9-462b-9b51-d67c878f9deb" providerId="ADAL" clId="{3CD0031A-BFCC-4C46-98F4-C146996B7387}" dt="2023-11-09T09:44:07.726" v="430"/>
          <ac:grpSpMkLst>
            <pc:docMk/>
            <pc:sldMk cId="1571575077" sldId="263"/>
            <ac:grpSpMk id="14" creationId="{38567220-4463-BB74-0B45-624AB7936E15}"/>
          </ac:grpSpMkLst>
        </pc:grpChg>
        <pc:grpChg chg="mod">
          <ac:chgData name="Abdo YOUNES" userId="410625cc-30c9-462b-9b51-d67c878f9deb" providerId="ADAL" clId="{3CD0031A-BFCC-4C46-98F4-C146996B7387}" dt="2023-11-09T09:44:07.726" v="430"/>
          <ac:grpSpMkLst>
            <pc:docMk/>
            <pc:sldMk cId="1571575077" sldId="263"/>
            <ac:grpSpMk id="16" creationId="{E65FFE29-B106-EAF7-955D-67ECE3F28B2F}"/>
          </ac:grpSpMkLst>
        </pc:grpChg>
        <pc:grpChg chg="mod">
          <ac:chgData name="Abdo YOUNES" userId="410625cc-30c9-462b-9b51-d67c878f9deb" providerId="ADAL" clId="{3CD0031A-BFCC-4C46-98F4-C146996B7387}" dt="2023-11-09T09:44:07.726" v="430"/>
          <ac:grpSpMkLst>
            <pc:docMk/>
            <pc:sldMk cId="1571575077" sldId="263"/>
            <ac:grpSpMk id="17" creationId="{F169BE01-74BC-A38B-12C9-DBCE3C3795DF}"/>
          </ac:grpSpMkLst>
        </pc:grpChg>
        <pc:grpChg chg="add mod">
          <ac:chgData name="Abdo YOUNES" userId="410625cc-30c9-462b-9b51-d67c878f9deb" providerId="ADAL" clId="{3CD0031A-BFCC-4C46-98F4-C146996B7387}" dt="2023-11-09T09:47:53.651" v="472" actId="1076"/>
          <ac:grpSpMkLst>
            <pc:docMk/>
            <pc:sldMk cId="1571575077" sldId="263"/>
            <ac:grpSpMk id="41" creationId="{2DB17131-3690-3761-4BD9-83CFF83EB6FC}"/>
          </ac:grpSpMkLst>
        </pc:grpChg>
        <pc:picChg chg="add mod">
          <ac:chgData name="Abdo YOUNES" userId="410625cc-30c9-462b-9b51-d67c878f9deb" providerId="ADAL" clId="{3CD0031A-BFCC-4C46-98F4-C146996B7387}" dt="2023-11-09T09:46:44.378" v="461" actId="164"/>
          <ac:picMkLst>
            <pc:docMk/>
            <pc:sldMk cId="1571575077" sldId="263"/>
            <ac:picMk id="10" creationId="{9F2E5D89-6740-679E-5F76-AAE9C0F76AB0}"/>
          </ac:picMkLst>
        </pc:picChg>
        <pc:picChg chg="add mod">
          <ac:chgData name="Abdo YOUNES" userId="410625cc-30c9-462b-9b51-d67c878f9deb" providerId="ADAL" clId="{3CD0031A-BFCC-4C46-98F4-C146996B7387}" dt="2023-11-09T09:46:44.378" v="461" actId="164"/>
          <ac:picMkLst>
            <pc:docMk/>
            <pc:sldMk cId="1571575077" sldId="263"/>
            <ac:picMk id="12" creationId="{46502A31-7914-9D92-7716-9FAD1163F1AF}"/>
          </ac:picMkLst>
        </pc:picChg>
        <pc:picChg chg="add del mod">
          <ac:chgData name="Abdo YOUNES" userId="410625cc-30c9-462b-9b51-d67c878f9deb" providerId="ADAL" clId="{3CD0031A-BFCC-4C46-98F4-C146996B7387}" dt="2023-11-09T09:49:56.513" v="500" actId="478"/>
          <ac:picMkLst>
            <pc:docMk/>
            <pc:sldMk cId="1571575077" sldId="263"/>
            <ac:picMk id="28" creationId="{C3B28651-099F-3A83-7B45-D3F34302EAB1}"/>
          </ac:picMkLst>
        </pc:picChg>
        <pc:picChg chg="add mod">
          <ac:chgData name="Abdo YOUNES" userId="410625cc-30c9-462b-9b51-d67c878f9deb" providerId="ADAL" clId="{3CD0031A-BFCC-4C46-98F4-C146996B7387}" dt="2023-11-09T09:50:06.283" v="503" actId="14100"/>
          <ac:picMkLst>
            <pc:docMk/>
            <pc:sldMk cId="1571575077" sldId="263"/>
            <ac:picMk id="29" creationId="{4D8A628B-52F8-A219-329A-323A663C8983}"/>
          </ac:picMkLst>
        </pc:picChg>
        <pc:picChg chg="add del mod">
          <ac:chgData name="Abdo YOUNES" userId="410625cc-30c9-462b-9b51-d67c878f9deb" providerId="ADAL" clId="{3CD0031A-BFCC-4C46-98F4-C146996B7387}" dt="2023-11-09T09:49:54.162" v="499" actId="478"/>
          <ac:picMkLst>
            <pc:docMk/>
            <pc:sldMk cId="1571575077" sldId="263"/>
            <ac:picMk id="31" creationId="{233CE8DF-B0BB-5B0D-772F-F3C4C801FD4F}"/>
          </ac:picMkLst>
        </pc:picChg>
        <pc:picChg chg="add mod">
          <ac:chgData name="Abdo YOUNES" userId="410625cc-30c9-462b-9b51-d67c878f9deb" providerId="ADAL" clId="{3CD0031A-BFCC-4C46-98F4-C146996B7387}" dt="2023-11-09T09:50:02.220" v="502" actId="14100"/>
          <ac:picMkLst>
            <pc:docMk/>
            <pc:sldMk cId="1571575077" sldId="263"/>
            <ac:picMk id="32" creationId="{A275075E-E516-619E-0AE1-414145B429EF}"/>
          </ac:picMkLst>
        </pc:picChg>
        <pc:picChg chg="add mod">
          <ac:chgData name="Abdo YOUNES" userId="410625cc-30c9-462b-9b51-d67c878f9deb" providerId="ADAL" clId="{3CD0031A-BFCC-4C46-98F4-C146996B7387}" dt="2023-11-09T09:51:58.966" v="508" actId="1076"/>
          <ac:picMkLst>
            <pc:docMk/>
            <pc:sldMk cId="1571575077" sldId="263"/>
            <ac:picMk id="34" creationId="{473D9E19-34DE-8A69-5979-9793803372ED}"/>
          </ac:picMkLst>
        </pc:picChg>
        <pc:picChg chg="add del mod">
          <ac:chgData name="Abdo YOUNES" userId="410625cc-30c9-462b-9b51-d67c878f9deb" providerId="ADAL" clId="{3CD0031A-BFCC-4C46-98F4-C146996B7387}" dt="2023-11-09T09:49:08.331" v="491" actId="478"/>
          <ac:picMkLst>
            <pc:docMk/>
            <pc:sldMk cId="1571575077" sldId="263"/>
            <ac:picMk id="35" creationId="{C421F67B-FFDA-5077-370D-94EF435BB10E}"/>
          </ac:picMkLst>
        </pc:picChg>
        <pc:picChg chg="add del mod">
          <ac:chgData name="Abdo YOUNES" userId="410625cc-30c9-462b-9b51-d67c878f9deb" providerId="ADAL" clId="{3CD0031A-BFCC-4C46-98F4-C146996B7387}" dt="2023-11-09T09:49:39.111" v="493" actId="478"/>
          <ac:picMkLst>
            <pc:docMk/>
            <pc:sldMk cId="1571575077" sldId="263"/>
            <ac:picMk id="37" creationId="{0CD14913-C50C-4316-23C0-C735AEE47709}"/>
          </ac:picMkLst>
        </pc:picChg>
        <pc:picChg chg="add mod">
          <ac:chgData name="Abdo YOUNES" userId="410625cc-30c9-462b-9b51-d67c878f9deb" providerId="ADAL" clId="{3CD0031A-BFCC-4C46-98F4-C146996B7387}" dt="2023-11-09T09:50:14.733" v="507" actId="1076"/>
          <ac:picMkLst>
            <pc:docMk/>
            <pc:sldMk cId="1571575077" sldId="263"/>
            <ac:picMk id="38" creationId="{704481CD-0FDF-EF76-8801-9D72F51F1240}"/>
          </ac:picMkLst>
        </pc:picChg>
        <pc:picChg chg="add del mod">
          <ac:chgData name="Abdo YOUNES" userId="410625cc-30c9-462b-9b51-d67c878f9deb" providerId="ADAL" clId="{3CD0031A-BFCC-4C46-98F4-C146996B7387}" dt="2023-11-09T09:49:53.382" v="498" actId="478"/>
          <ac:picMkLst>
            <pc:docMk/>
            <pc:sldMk cId="1571575077" sldId="263"/>
            <ac:picMk id="44" creationId="{0AC3EA31-4EFA-0BF8-F4DF-6731EF757CC3}"/>
          </ac:picMkLst>
        </pc:picChg>
      </pc:sldChg>
      <pc:sldChg chg="addSp delSp modSp del">
        <pc:chgData name="Abdo YOUNES" userId="410625cc-30c9-462b-9b51-d67c878f9deb" providerId="ADAL" clId="{3CD0031A-BFCC-4C46-98F4-C146996B7387}" dt="2023-11-09T09:59:08.552" v="546" actId="47"/>
        <pc:sldMkLst>
          <pc:docMk/>
          <pc:sldMk cId="4041088914" sldId="264"/>
        </pc:sldMkLst>
        <pc:spChg chg="add del mod">
          <ac:chgData name="Abdo YOUNES" userId="410625cc-30c9-462b-9b51-d67c878f9deb" providerId="ADAL" clId="{3CD0031A-BFCC-4C46-98F4-C146996B7387}" dt="2023-11-09T09:21:05.686" v="110"/>
          <ac:spMkLst>
            <pc:docMk/>
            <pc:sldMk cId="4041088914" sldId="264"/>
            <ac:spMk id="7" creationId="{648283C6-45CF-A510-E490-7A3D5C572C17}"/>
          </ac:spMkLst>
        </pc:spChg>
      </pc:sldChg>
      <pc:sldChg chg="addSp delSp modSp mod">
        <pc:chgData name="Abdo YOUNES" userId="410625cc-30c9-462b-9b51-d67c878f9deb" providerId="ADAL" clId="{3CD0031A-BFCC-4C46-98F4-C146996B7387}" dt="2023-11-09T09:56:47.916" v="545" actId="14100"/>
        <pc:sldMkLst>
          <pc:docMk/>
          <pc:sldMk cId="2380994617" sldId="265"/>
        </pc:sldMkLst>
        <pc:spChg chg="mod">
          <ac:chgData name="Abdo YOUNES" userId="410625cc-30c9-462b-9b51-d67c878f9deb" providerId="ADAL" clId="{3CD0031A-BFCC-4C46-98F4-C146996B7387}" dt="2023-11-09T09:55:01.819" v="519" actId="1076"/>
          <ac:spMkLst>
            <pc:docMk/>
            <pc:sldMk cId="2380994617" sldId="265"/>
            <ac:spMk id="2" creationId="{9290F0C3-68B9-5DE5-96F9-5C92852143CE}"/>
          </ac:spMkLst>
        </pc:spChg>
        <pc:spChg chg="mod">
          <ac:chgData name="Abdo YOUNES" userId="410625cc-30c9-462b-9b51-d67c878f9deb" providerId="ADAL" clId="{3CD0031A-BFCC-4C46-98F4-C146996B7387}" dt="2023-11-09T09:56:03.906" v="536" actId="14100"/>
          <ac:spMkLst>
            <pc:docMk/>
            <pc:sldMk cId="2380994617" sldId="265"/>
            <ac:spMk id="3" creationId="{C75BF17B-EF4F-7261-9FC0-34330F38753B}"/>
          </ac:spMkLst>
        </pc:spChg>
        <pc:spChg chg="del">
          <ac:chgData name="Abdo YOUNES" userId="410625cc-30c9-462b-9b51-d67c878f9deb" providerId="ADAL" clId="{3CD0031A-BFCC-4C46-98F4-C146996B7387}" dt="2023-11-09T09:55:33.545" v="524" actId="478"/>
          <ac:spMkLst>
            <pc:docMk/>
            <pc:sldMk cId="2380994617" sldId="265"/>
            <ac:spMk id="4" creationId="{30929477-D085-E511-E935-B7DAA37C698D}"/>
          </ac:spMkLst>
        </pc:spChg>
        <pc:spChg chg="del">
          <ac:chgData name="Abdo YOUNES" userId="410625cc-30c9-462b-9b51-d67c878f9deb" providerId="ADAL" clId="{3CD0031A-BFCC-4C46-98F4-C146996B7387}" dt="2023-11-09T09:55:34.638" v="525" actId="478"/>
          <ac:spMkLst>
            <pc:docMk/>
            <pc:sldMk cId="2380994617" sldId="265"/>
            <ac:spMk id="5" creationId="{8A90C8C2-4207-E342-FF00-AA5C749FF7FB}"/>
          </ac:spMkLst>
        </pc:spChg>
        <pc:spChg chg="add mod">
          <ac:chgData name="Abdo YOUNES" userId="410625cc-30c9-462b-9b51-d67c878f9deb" providerId="ADAL" clId="{3CD0031A-BFCC-4C46-98F4-C146996B7387}" dt="2023-11-09T09:21:02.694" v="108" actId="1036"/>
          <ac:spMkLst>
            <pc:docMk/>
            <pc:sldMk cId="2380994617" sldId="265"/>
            <ac:spMk id="7" creationId="{81CAF61C-7023-E332-B697-2A3C3315D23D}"/>
          </ac:spMkLst>
        </pc:spChg>
        <pc:spChg chg="add mod">
          <ac:chgData name="Abdo YOUNES" userId="410625cc-30c9-462b-9b51-d67c878f9deb" providerId="ADAL" clId="{3CD0031A-BFCC-4C46-98F4-C146996B7387}" dt="2023-11-09T09:56:41.976" v="543" actId="1076"/>
          <ac:spMkLst>
            <pc:docMk/>
            <pc:sldMk cId="2380994617" sldId="265"/>
            <ac:spMk id="8" creationId="{C3A4E80C-B982-B56C-ECDF-75D94D30CD50}"/>
          </ac:spMkLst>
        </pc:spChg>
        <pc:spChg chg="add mod">
          <ac:chgData name="Abdo YOUNES" userId="410625cc-30c9-462b-9b51-d67c878f9deb" providerId="ADAL" clId="{3CD0031A-BFCC-4C46-98F4-C146996B7387}" dt="2023-11-09T09:56:41.976" v="543" actId="1076"/>
          <ac:spMkLst>
            <pc:docMk/>
            <pc:sldMk cId="2380994617" sldId="265"/>
            <ac:spMk id="9" creationId="{AB99649F-005F-76CE-457F-DF0CB93011D3}"/>
          </ac:spMkLst>
        </pc:spChg>
        <pc:spChg chg="add mod">
          <ac:chgData name="Abdo YOUNES" userId="410625cc-30c9-462b-9b51-d67c878f9deb" providerId="ADAL" clId="{3CD0031A-BFCC-4C46-98F4-C146996B7387}" dt="2023-11-09T09:56:41.976" v="543" actId="1076"/>
          <ac:spMkLst>
            <pc:docMk/>
            <pc:sldMk cId="2380994617" sldId="265"/>
            <ac:spMk id="10" creationId="{FEF4979E-7BC7-B370-4A59-175947F14436}"/>
          </ac:spMkLst>
        </pc:spChg>
        <pc:spChg chg="add mod">
          <ac:chgData name="Abdo YOUNES" userId="410625cc-30c9-462b-9b51-d67c878f9deb" providerId="ADAL" clId="{3CD0031A-BFCC-4C46-98F4-C146996B7387}" dt="2023-11-09T09:56:47.916" v="545" actId="14100"/>
          <ac:spMkLst>
            <pc:docMk/>
            <pc:sldMk cId="2380994617" sldId="265"/>
            <ac:spMk id="11" creationId="{921FD290-B0C1-1B14-C6CD-6F13F1B2678D}"/>
          </ac:spMkLst>
        </pc:spChg>
        <pc:spChg chg="add mod">
          <ac:chgData name="Abdo YOUNES" userId="410625cc-30c9-462b-9b51-d67c878f9deb" providerId="ADAL" clId="{3CD0031A-BFCC-4C46-98F4-C146996B7387}" dt="2023-11-09T09:56:06.969" v="537" actId="108"/>
          <ac:spMkLst>
            <pc:docMk/>
            <pc:sldMk cId="2380994617" sldId="265"/>
            <ac:spMk id="12" creationId="{A97DD60E-3D06-08EC-6758-8C751D64E1D2}"/>
          </ac:spMkLst>
        </pc:spChg>
        <pc:spChg chg="add mod">
          <ac:chgData name="Abdo YOUNES" userId="410625cc-30c9-462b-9b51-d67c878f9deb" providerId="ADAL" clId="{3CD0031A-BFCC-4C46-98F4-C146996B7387}" dt="2023-11-09T09:56:14.394" v="539" actId="1076"/>
          <ac:spMkLst>
            <pc:docMk/>
            <pc:sldMk cId="2380994617" sldId="265"/>
            <ac:spMk id="13" creationId="{5E92A7DB-FC10-B3FC-29CD-7A78991DF9EC}"/>
          </ac:spMkLst>
        </pc:spChg>
      </pc:sldChg>
      <pc:sldChg chg="addSp modSp add mod">
        <pc:chgData name="Abdo YOUNES" userId="410625cc-30c9-462b-9b51-d67c878f9deb" providerId="ADAL" clId="{3CD0031A-BFCC-4C46-98F4-C146996B7387}" dt="2023-11-09T09:31:41.611" v="271" actId="1076"/>
        <pc:sldMkLst>
          <pc:docMk/>
          <pc:sldMk cId="1615902378" sldId="266"/>
        </pc:sldMkLst>
        <pc:spChg chg="add mod">
          <ac:chgData name="Abdo YOUNES" userId="410625cc-30c9-462b-9b51-d67c878f9deb" providerId="ADAL" clId="{3CD0031A-BFCC-4C46-98F4-C146996B7387}" dt="2023-11-09T09:31:38.758" v="269" actId="14100"/>
          <ac:spMkLst>
            <pc:docMk/>
            <pc:sldMk cId="1615902378" sldId="266"/>
            <ac:spMk id="2" creationId="{2FDF7547-C4F0-E578-1A4D-FE6E5D03036F}"/>
          </ac:spMkLst>
        </pc:spChg>
        <pc:spChg chg="add mod">
          <ac:chgData name="Abdo YOUNES" userId="410625cc-30c9-462b-9b51-d67c878f9deb" providerId="ADAL" clId="{3CD0031A-BFCC-4C46-98F4-C146996B7387}" dt="2023-11-09T09:31:41.611" v="271" actId="1076"/>
          <ac:spMkLst>
            <pc:docMk/>
            <pc:sldMk cId="1615902378" sldId="266"/>
            <ac:spMk id="7" creationId="{68F171E0-777F-D449-4D06-B24F58467372}"/>
          </ac:spMkLst>
        </pc:spChg>
      </pc:sldChg>
      <pc:sldChg chg="add del">
        <pc:chgData name="Abdo YOUNES" userId="410625cc-30c9-462b-9b51-d67c878f9deb" providerId="ADAL" clId="{3CD0031A-BFCC-4C46-98F4-C146996B7387}" dt="2023-11-09T09:31:25.108" v="265"/>
        <pc:sldMkLst>
          <pc:docMk/>
          <pc:sldMk cId="3541682782" sldId="266"/>
        </pc:sldMkLst>
      </pc:sldChg>
      <pc:sldChg chg="addSp delSp modSp add mod">
        <pc:chgData name="Abdo YOUNES" userId="410625cc-30c9-462b-9b51-d67c878f9deb" providerId="ADAL" clId="{3CD0031A-BFCC-4C46-98F4-C146996B7387}" dt="2023-11-09T10:08:24.737" v="658"/>
        <pc:sldMkLst>
          <pc:docMk/>
          <pc:sldMk cId="2376373146" sldId="267"/>
        </pc:sldMkLst>
        <pc:spChg chg="mod">
          <ac:chgData name="Abdo YOUNES" userId="410625cc-30c9-462b-9b51-d67c878f9deb" providerId="ADAL" clId="{3CD0031A-BFCC-4C46-98F4-C146996B7387}" dt="2023-11-09T10:03:49.925" v="613" actId="255"/>
          <ac:spMkLst>
            <pc:docMk/>
            <pc:sldMk cId="2376373146" sldId="267"/>
            <ac:spMk id="2" creationId="{9290F0C3-68B9-5DE5-96F9-5C92852143CE}"/>
          </ac:spMkLst>
        </pc:spChg>
        <pc:spChg chg="add mod">
          <ac:chgData name="Abdo YOUNES" userId="410625cc-30c9-462b-9b51-d67c878f9deb" providerId="ADAL" clId="{3CD0031A-BFCC-4C46-98F4-C146996B7387}" dt="2023-11-09T10:03:43.632" v="612" actId="255"/>
          <ac:spMkLst>
            <pc:docMk/>
            <pc:sldMk cId="2376373146" sldId="267"/>
            <ac:spMk id="4" creationId="{92268679-4480-DCDF-0CAA-E333CECAFE79}"/>
          </ac:spMkLst>
        </pc:spChg>
        <pc:spChg chg="add del mod">
          <ac:chgData name="Abdo YOUNES" userId="410625cc-30c9-462b-9b51-d67c878f9deb" providerId="ADAL" clId="{3CD0031A-BFCC-4C46-98F4-C146996B7387}" dt="2023-11-09T10:03:57.292" v="615" actId="1076"/>
          <ac:spMkLst>
            <pc:docMk/>
            <pc:sldMk cId="2376373146" sldId="267"/>
            <ac:spMk id="5" creationId="{594E7262-CBFB-2029-8FDA-C05A35B47161}"/>
          </ac:spMkLst>
        </pc:spChg>
        <pc:spChg chg="del">
          <ac:chgData name="Abdo YOUNES" userId="410625cc-30c9-462b-9b51-d67c878f9deb" providerId="ADAL" clId="{3CD0031A-BFCC-4C46-98F4-C146996B7387}" dt="2023-11-09T10:00:11.779" v="553" actId="478"/>
          <ac:spMkLst>
            <pc:docMk/>
            <pc:sldMk cId="2376373146" sldId="267"/>
            <ac:spMk id="8" creationId="{C3A4E80C-B982-B56C-ECDF-75D94D30CD50}"/>
          </ac:spMkLst>
        </pc:spChg>
        <pc:spChg chg="del">
          <ac:chgData name="Abdo YOUNES" userId="410625cc-30c9-462b-9b51-d67c878f9deb" providerId="ADAL" clId="{3CD0031A-BFCC-4C46-98F4-C146996B7387}" dt="2023-11-09T10:00:10.209" v="552" actId="478"/>
          <ac:spMkLst>
            <pc:docMk/>
            <pc:sldMk cId="2376373146" sldId="267"/>
            <ac:spMk id="9" creationId="{AB99649F-005F-76CE-457F-DF0CB93011D3}"/>
          </ac:spMkLst>
        </pc:spChg>
        <pc:spChg chg="del">
          <ac:chgData name="Abdo YOUNES" userId="410625cc-30c9-462b-9b51-d67c878f9deb" providerId="ADAL" clId="{3CD0031A-BFCC-4C46-98F4-C146996B7387}" dt="2023-11-09T10:00:14.351" v="555" actId="478"/>
          <ac:spMkLst>
            <pc:docMk/>
            <pc:sldMk cId="2376373146" sldId="267"/>
            <ac:spMk id="10" creationId="{FEF4979E-7BC7-B370-4A59-175947F14436}"/>
          </ac:spMkLst>
        </pc:spChg>
        <pc:spChg chg="del">
          <ac:chgData name="Abdo YOUNES" userId="410625cc-30c9-462b-9b51-d67c878f9deb" providerId="ADAL" clId="{3CD0031A-BFCC-4C46-98F4-C146996B7387}" dt="2023-11-09T10:00:12.677" v="554" actId="478"/>
          <ac:spMkLst>
            <pc:docMk/>
            <pc:sldMk cId="2376373146" sldId="267"/>
            <ac:spMk id="11" creationId="{921FD290-B0C1-1B14-C6CD-6F13F1B2678D}"/>
          </ac:spMkLst>
        </pc:spChg>
        <pc:spChg chg="del">
          <ac:chgData name="Abdo YOUNES" userId="410625cc-30c9-462b-9b51-d67c878f9deb" providerId="ADAL" clId="{3CD0031A-BFCC-4C46-98F4-C146996B7387}" dt="2023-11-09T09:59:29.334" v="549" actId="478"/>
          <ac:spMkLst>
            <pc:docMk/>
            <pc:sldMk cId="2376373146" sldId="267"/>
            <ac:spMk id="12" creationId="{A97DD60E-3D06-08EC-6758-8C751D64E1D2}"/>
          </ac:spMkLst>
        </pc:spChg>
        <pc:spChg chg="del">
          <ac:chgData name="Abdo YOUNES" userId="410625cc-30c9-462b-9b51-d67c878f9deb" providerId="ADAL" clId="{3CD0031A-BFCC-4C46-98F4-C146996B7387}" dt="2023-11-09T09:59:30.300" v="550" actId="478"/>
          <ac:spMkLst>
            <pc:docMk/>
            <pc:sldMk cId="2376373146" sldId="267"/>
            <ac:spMk id="13" creationId="{5E92A7DB-FC10-B3FC-29CD-7A78991DF9EC}"/>
          </ac:spMkLst>
        </pc:spChg>
        <pc:spChg chg="add mod">
          <ac:chgData name="Abdo YOUNES" userId="410625cc-30c9-462b-9b51-d67c878f9deb" providerId="ADAL" clId="{3CD0031A-BFCC-4C46-98F4-C146996B7387}" dt="2023-11-09T09:59:31.321" v="551"/>
          <ac:spMkLst>
            <pc:docMk/>
            <pc:sldMk cId="2376373146" sldId="267"/>
            <ac:spMk id="15" creationId="{44D9BA78-4818-BE96-0C79-BC2F6247B292}"/>
          </ac:spMkLst>
        </pc:spChg>
        <pc:spChg chg="add mod">
          <ac:chgData name="Abdo YOUNES" userId="410625cc-30c9-462b-9b51-d67c878f9deb" providerId="ADAL" clId="{3CD0031A-BFCC-4C46-98F4-C146996B7387}" dt="2023-11-09T09:59:31.321" v="551"/>
          <ac:spMkLst>
            <pc:docMk/>
            <pc:sldMk cId="2376373146" sldId="267"/>
            <ac:spMk id="16" creationId="{1763452B-4844-E153-770A-B9CD12FD445B}"/>
          </ac:spMkLst>
        </pc:spChg>
        <pc:spChg chg="add del mod">
          <ac:chgData name="Abdo YOUNES" userId="410625cc-30c9-462b-9b51-d67c878f9deb" providerId="ADAL" clId="{3CD0031A-BFCC-4C46-98F4-C146996B7387}" dt="2023-11-09T10:03:15.071" v="603" actId="478"/>
          <ac:spMkLst>
            <pc:docMk/>
            <pc:sldMk cId="2376373146" sldId="267"/>
            <ac:spMk id="17" creationId="{4A9A3FFF-2686-6058-DBFA-2A54B740C5F0}"/>
          </ac:spMkLst>
        </pc:spChg>
        <pc:spChg chg="add del mod">
          <ac:chgData name="Abdo YOUNES" userId="410625cc-30c9-462b-9b51-d67c878f9deb" providerId="ADAL" clId="{3CD0031A-BFCC-4C46-98F4-C146996B7387}" dt="2023-11-09T10:03:21.826" v="607" actId="478"/>
          <ac:spMkLst>
            <pc:docMk/>
            <pc:sldMk cId="2376373146" sldId="267"/>
            <ac:spMk id="18" creationId="{5BE119FE-91F4-545C-D4CA-2F4981929B3C}"/>
          </ac:spMkLst>
        </pc:spChg>
        <pc:graphicFrameChg chg="add mod">
          <ac:chgData name="Abdo YOUNES" userId="410625cc-30c9-462b-9b51-d67c878f9deb" providerId="ADAL" clId="{3CD0031A-BFCC-4C46-98F4-C146996B7387}" dt="2023-11-09T10:06:42.508" v="633" actId="207"/>
          <ac:graphicFrameMkLst>
            <pc:docMk/>
            <pc:sldMk cId="2376373146" sldId="267"/>
            <ac:graphicFrameMk id="21" creationId="{D75A1351-42E9-3336-3648-EA2503CF00E0}"/>
          </ac:graphicFrameMkLst>
        </pc:graphicFrameChg>
        <pc:graphicFrameChg chg="add del mod">
          <ac:chgData name="Abdo YOUNES" userId="410625cc-30c9-462b-9b51-d67c878f9deb" providerId="ADAL" clId="{3CD0031A-BFCC-4C46-98F4-C146996B7387}" dt="2023-11-09T10:08:06.707" v="651" actId="478"/>
          <ac:graphicFrameMkLst>
            <pc:docMk/>
            <pc:sldMk cId="2376373146" sldId="267"/>
            <ac:graphicFrameMk id="22" creationId="{BEA0078F-8948-31B3-184A-DEF5C51C1577}"/>
          </ac:graphicFrameMkLst>
        </pc:graphicFrameChg>
        <pc:graphicFrameChg chg="add del mod">
          <ac:chgData name="Abdo YOUNES" userId="410625cc-30c9-462b-9b51-d67c878f9deb" providerId="ADAL" clId="{3CD0031A-BFCC-4C46-98F4-C146996B7387}" dt="2023-11-09T10:07:28.734" v="642" actId="478"/>
          <ac:graphicFrameMkLst>
            <pc:docMk/>
            <pc:sldMk cId="2376373146" sldId="267"/>
            <ac:graphicFrameMk id="23" creationId="{6767C74A-EBD7-FF7D-2F84-F8E844DB92C4}"/>
          </ac:graphicFrameMkLst>
        </pc:graphicFrameChg>
        <pc:graphicFrameChg chg="add del mod">
          <ac:chgData name="Abdo YOUNES" userId="410625cc-30c9-462b-9b51-d67c878f9deb" providerId="ADAL" clId="{3CD0031A-BFCC-4C46-98F4-C146996B7387}" dt="2023-11-09T10:07:02.864" v="637" actId="478"/>
          <ac:graphicFrameMkLst>
            <pc:docMk/>
            <pc:sldMk cId="2376373146" sldId="267"/>
            <ac:graphicFrameMk id="24" creationId="{73A60EC5-D4D0-5DAE-379D-F5C5A6692E88}"/>
          </ac:graphicFrameMkLst>
        </pc:graphicFrameChg>
        <pc:graphicFrameChg chg="add del mod">
          <ac:chgData name="Abdo YOUNES" userId="410625cc-30c9-462b-9b51-d67c878f9deb" providerId="ADAL" clId="{3CD0031A-BFCC-4C46-98F4-C146996B7387}" dt="2023-11-09T10:07:01.383" v="636"/>
          <ac:graphicFrameMkLst>
            <pc:docMk/>
            <pc:sldMk cId="2376373146" sldId="267"/>
            <ac:graphicFrameMk id="27" creationId="{B8D9C8E6-0CE4-8E35-3EF1-985E0DA60971}"/>
          </ac:graphicFrameMkLst>
        </pc:graphicFrameChg>
        <pc:graphicFrameChg chg="add mod">
          <ac:chgData name="Abdo YOUNES" userId="410625cc-30c9-462b-9b51-d67c878f9deb" providerId="ADAL" clId="{3CD0031A-BFCC-4C46-98F4-C146996B7387}" dt="2023-11-09T10:07:14.229" v="641"/>
          <ac:graphicFrameMkLst>
            <pc:docMk/>
            <pc:sldMk cId="2376373146" sldId="267"/>
            <ac:graphicFrameMk id="28" creationId="{DC168BB9-6C8D-6448-94AD-5C3A7F1587C1}"/>
          </ac:graphicFrameMkLst>
        </pc:graphicFrameChg>
        <pc:graphicFrameChg chg="add mod">
          <ac:chgData name="Abdo YOUNES" userId="410625cc-30c9-462b-9b51-d67c878f9deb" providerId="ADAL" clId="{3CD0031A-BFCC-4C46-98F4-C146996B7387}" dt="2023-11-09T10:08:00.657" v="650"/>
          <ac:graphicFrameMkLst>
            <pc:docMk/>
            <pc:sldMk cId="2376373146" sldId="267"/>
            <ac:graphicFrameMk id="29" creationId="{A13DEC87-4A1B-65F1-71A1-62FBA8CAEA71}"/>
          </ac:graphicFrameMkLst>
        </pc:graphicFrameChg>
        <pc:graphicFrameChg chg="add mod">
          <ac:chgData name="Abdo YOUNES" userId="410625cc-30c9-462b-9b51-d67c878f9deb" providerId="ADAL" clId="{3CD0031A-BFCC-4C46-98F4-C146996B7387}" dt="2023-11-09T10:08:24.737" v="658"/>
          <ac:graphicFrameMkLst>
            <pc:docMk/>
            <pc:sldMk cId="2376373146" sldId="267"/>
            <ac:graphicFrameMk id="30" creationId="{EDEDFB38-4778-D84A-1499-B199EA145364}"/>
          </ac:graphicFrameMkLst>
        </pc:graphicFrameChg>
        <pc:picChg chg="add mod">
          <ac:chgData name="Abdo YOUNES" userId="410625cc-30c9-462b-9b51-d67c878f9deb" providerId="ADAL" clId="{3CD0031A-BFCC-4C46-98F4-C146996B7387}" dt="2023-11-09T10:03:07.527" v="601" actId="207"/>
          <ac:picMkLst>
            <pc:docMk/>
            <pc:sldMk cId="2376373146" sldId="267"/>
            <ac:picMk id="25" creationId="{17CC8634-6D93-4DB6-76C0-761D1ED72B0A}"/>
          </ac:picMkLst>
        </pc:picChg>
        <pc:picChg chg="add mod">
          <ac:chgData name="Abdo YOUNES" userId="410625cc-30c9-462b-9b51-d67c878f9deb" providerId="ADAL" clId="{3CD0031A-BFCC-4C46-98F4-C146996B7387}" dt="2023-11-09T10:04:01.139" v="616" actId="1076"/>
          <ac:picMkLst>
            <pc:docMk/>
            <pc:sldMk cId="2376373146" sldId="267"/>
            <ac:picMk id="26" creationId="{52D2F64B-06DF-A57D-A452-8429677C1DA5}"/>
          </ac:picMkLst>
        </pc:picChg>
        <pc:cxnChg chg="add mod">
          <ac:chgData name="Abdo YOUNES" userId="410625cc-30c9-462b-9b51-d67c878f9deb" providerId="ADAL" clId="{3CD0031A-BFCC-4C46-98F4-C146996B7387}" dt="2023-11-09T09:59:31.321" v="551"/>
          <ac:cxnSpMkLst>
            <pc:docMk/>
            <pc:sldMk cId="2376373146" sldId="267"/>
            <ac:cxnSpMk id="14" creationId="{9819EB0F-3ED9-F9DA-29CB-8D57A8C8676F}"/>
          </ac:cxnSpMkLst>
        </pc:cxnChg>
        <pc:cxnChg chg="add mod">
          <ac:chgData name="Abdo YOUNES" userId="410625cc-30c9-462b-9b51-d67c878f9deb" providerId="ADAL" clId="{3CD0031A-BFCC-4C46-98F4-C146996B7387}" dt="2023-11-09T09:59:31.321" v="551"/>
          <ac:cxnSpMkLst>
            <pc:docMk/>
            <pc:sldMk cId="2376373146" sldId="267"/>
            <ac:cxnSpMk id="19" creationId="{4472A792-5D26-757B-0861-FA0A51B809B9}"/>
          </ac:cxnSpMkLst>
        </pc:cxnChg>
        <pc:cxnChg chg="add mod">
          <ac:chgData name="Abdo YOUNES" userId="410625cc-30c9-462b-9b51-d67c878f9deb" providerId="ADAL" clId="{3CD0031A-BFCC-4C46-98F4-C146996B7387}" dt="2023-11-09T09:59:31.321" v="551"/>
          <ac:cxnSpMkLst>
            <pc:docMk/>
            <pc:sldMk cId="2376373146" sldId="267"/>
            <ac:cxnSpMk id="20" creationId="{ADFC4E27-665F-C9FB-7E66-46F850750DEC}"/>
          </ac:cxnSpMkLst>
        </pc:cxnChg>
      </pc:sldChg>
      <pc:sldChg chg="add">
        <pc:chgData name="Abdo YOUNES" userId="410625cc-30c9-462b-9b51-d67c878f9deb" providerId="ADAL" clId="{3CD0031A-BFCC-4C46-98F4-C146996B7387}" dt="2023-11-09T10:09:45.066" v="659"/>
        <pc:sldMkLst>
          <pc:docMk/>
          <pc:sldMk cId="3561166778" sldId="300"/>
        </pc:sldMkLst>
      </pc:sldChg>
      <pc:sldChg chg="add del">
        <pc:chgData name="Abdo YOUNES" userId="410625cc-30c9-462b-9b51-d67c878f9deb" providerId="ADAL" clId="{3CD0031A-BFCC-4C46-98F4-C146996B7387}" dt="2023-11-09T10:10:01.288" v="661" actId="47"/>
        <pc:sldMkLst>
          <pc:docMk/>
          <pc:sldMk cId="3116986718" sldId="301"/>
        </pc:sldMkLst>
      </pc:sldChg>
      <pc:sldChg chg="add">
        <pc:chgData name="Abdo YOUNES" userId="410625cc-30c9-462b-9b51-d67c878f9deb" providerId="ADAL" clId="{3CD0031A-BFCC-4C46-98F4-C146996B7387}" dt="2023-11-09T10:10:32.172" v="665"/>
        <pc:sldMkLst>
          <pc:docMk/>
          <pc:sldMk cId="2675272974" sldId="2134805925"/>
        </pc:sldMkLst>
      </pc:sldChg>
      <pc:sldChg chg="add">
        <pc:chgData name="Abdo YOUNES" userId="410625cc-30c9-462b-9b51-d67c878f9deb" providerId="ADAL" clId="{3CD0031A-BFCC-4C46-98F4-C146996B7387}" dt="2023-11-09T10:10:32.172" v="665"/>
        <pc:sldMkLst>
          <pc:docMk/>
          <pc:sldMk cId="621596271" sldId="2147377117"/>
        </pc:sldMkLst>
      </pc:sldChg>
      <pc:sldChg chg="add">
        <pc:chgData name="Abdo YOUNES" userId="410625cc-30c9-462b-9b51-d67c878f9deb" providerId="ADAL" clId="{3CD0031A-BFCC-4C46-98F4-C146996B7387}" dt="2023-11-09T10:10:32.172" v="665"/>
        <pc:sldMkLst>
          <pc:docMk/>
          <pc:sldMk cId="2520913310" sldId="2147377118"/>
        </pc:sldMkLst>
      </pc:sldChg>
      <pc:sldChg chg="add">
        <pc:chgData name="Abdo YOUNES" userId="410625cc-30c9-462b-9b51-d67c878f9deb" providerId="ADAL" clId="{3CD0031A-BFCC-4C46-98F4-C146996B7387}" dt="2023-11-09T10:10:32.172" v="665"/>
        <pc:sldMkLst>
          <pc:docMk/>
          <pc:sldMk cId="3216623788" sldId="2147377410"/>
        </pc:sldMkLst>
      </pc:sldChg>
      <pc:sldChg chg="add">
        <pc:chgData name="Abdo YOUNES" userId="410625cc-30c9-462b-9b51-d67c878f9deb" providerId="ADAL" clId="{3CD0031A-BFCC-4C46-98F4-C146996B7387}" dt="2023-11-09T10:10:32.172" v="665"/>
        <pc:sldMkLst>
          <pc:docMk/>
          <pc:sldMk cId="1093436317" sldId="2147377424"/>
        </pc:sldMkLst>
      </pc:sldChg>
      <pc:sldChg chg="add">
        <pc:chgData name="Abdo YOUNES" userId="410625cc-30c9-462b-9b51-d67c878f9deb" providerId="ADAL" clId="{3CD0031A-BFCC-4C46-98F4-C146996B7387}" dt="2023-11-09T10:10:32.172" v="665"/>
        <pc:sldMkLst>
          <pc:docMk/>
          <pc:sldMk cId="2933304876" sldId="2147377426"/>
        </pc:sldMkLst>
      </pc:sldChg>
      <pc:sldChg chg="add">
        <pc:chgData name="Abdo YOUNES" userId="410625cc-30c9-462b-9b51-d67c878f9deb" providerId="ADAL" clId="{3CD0031A-BFCC-4C46-98F4-C146996B7387}" dt="2023-11-09T10:10:11.599" v="662"/>
        <pc:sldMkLst>
          <pc:docMk/>
          <pc:sldMk cId="1125379258" sldId="2147377427"/>
        </pc:sldMkLst>
      </pc:sldChg>
      <pc:sldChg chg="add">
        <pc:chgData name="Abdo YOUNES" userId="410625cc-30c9-462b-9b51-d67c878f9deb" providerId="ADAL" clId="{3CD0031A-BFCC-4C46-98F4-C146996B7387}" dt="2023-11-09T10:10:32.172" v="665"/>
        <pc:sldMkLst>
          <pc:docMk/>
          <pc:sldMk cId="2510240396" sldId="2147377432"/>
        </pc:sldMkLst>
      </pc:sldChg>
      <pc:sldChg chg="modSp add mod">
        <pc:chgData name="Abdo YOUNES" userId="410625cc-30c9-462b-9b51-d67c878f9deb" providerId="ADAL" clId="{3CD0031A-BFCC-4C46-98F4-C146996B7387}" dt="2023-11-09T10:10:11.645" v="663" actId="27636"/>
        <pc:sldMkLst>
          <pc:docMk/>
          <pc:sldMk cId="3200625503" sldId="2147377437"/>
        </pc:sldMkLst>
        <pc:spChg chg="mod">
          <ac:chgData name="Abdo YOUNES" userId="410625cc-30c9-462b-9b51-d67c878f9deb" providerId="ADAL" clId="{3CD0031A-BFCC-4C46-98F4-C146996B7387}" dt="2023-11-09T10:10:11.599" v="662"/>
          <ac:spMkLst>
            <pc:docMk/>
            <pc:sldMk cId="3200625503" sldId="2147377437"/>
            <ac:spMk id="2" creationId="{A7816FAA-F229-0DA8-C80B-72F5B4707F5F}"/>
          </ac:spMkLst>
        </pc:spChg>
        <pc:spChg chg="mod">
          <ac:chgData name="Abdo YOUNES" userId="410625cc-30c9-462b-9b51-d67c878f9deb" providerId="ADAL" clId="{3CD0031A-BFCC-4C46-98F4-C146996B7387}" dt="2023-11-09T10:10:11.645" v="663" actId="27636"/>
          <ac:spMkLst>
            <pc:docMk/>
            <pc:sldMk cId="3200625503" sldId="2147377437"/>
            <ac:spMk id="3" creationId="{A88487D0-8D22-B0CE-B509-CAC9FF25D3DA}"/>
          </ac:spMkLst>
        </pc:spChg>
      </pc:sldChg>
      <pc:sldChg chg="modSp add mod">
        <pc:chgData name="Abdo YOUNES" userId="410625cc-30c9-462b-9b51-d67c878f9deb" providerId="ADAL" clId="{3CD0031A-BFCC-4C46-98F4-C146996B7387}" dt="2023-11-09T10:10:11.657" v="664" actId="27636"/>
        <pc:sldMkLst>
          <pc:docMk/>
          <pc:sldMk cId="3287587123" sldId="2147377438"/>
        </pc:sldMkLst>
        <pc:spChg chg="mod">
          <ac:chgData name="Abdo YOUNES" userId="410625cc-30c9-462b-9b51-d67c878f9deb" providerId="ADAL" clId="{3CD0031A-BFCC-4C46-98F4-C146996B7387}" dt="2023-11-09T10:10:11.599" v="662"/>
          <ac:spMkLst>
            <pc:docMk/>
            <pc:sldMk cId="3287587123" sldId="2147377438"/>
            <ac:spMk id="2" creationId="{A7816FAA-F229-0DA8-C80B-72F5B4707F5F}"/>
          </ac:spMkLst>
        </pc:spChg>
        <pc:spChg chg="mod">
          <ac:chgData name="Abdo YOUNES" userId="410625cc-30c9-462b-9b51-d67c878f9deb" providerId="ADAL" clId="{3CD0031A-BFCC-4C46-98F4-C146996B7387}" dt="2023-11-09T10:10:11.657" v="664" actId="27636"/>
          <ac:spMkLst>
            <pc:docMk/>
            <pc:sldMk cId="3287587123" sldId="2147377438"/>
            <ac:spMk id="3" creationId="{A88487D0-8D22-B0CE-B509-CAC9FF25D3DA}"/>
          </ac:spMkLst>
        </pc:spChg>
      </pc:sldChg>
      <pc:sldChg chg="add">
        <pc:chgData name="Abdo YOUNES" userId="410625cc-30c9-462b-9b51-d67c878f9deb" providerId="ADAL" clId="{3CD0031A-BFCC-4C46-98F4-C146996B7387}" dt="2023-11-09T10:10:32.172" v="665"/>
        <pc:sldMkLst>
          <pc:docMk/>
          <pc:sldMk cId="2260008973" sldId="2147377441"/>
        </pc:sldMkLst>
      </pc:sldChg>
      <pc:sldChg chg="add">
        <pc:chgData name="Abdo YOUNES" userId="410625cc-30c9-462b-9b51-d67c878f9deb" providerId="ADAL" clId="{3CD0031A-BFCC-4C46-98F4-C146996B7387}" dt="2023-11-09T10:10:32.172" v="665"/>
        <pc:sldMkLst>
          <pc:docMk/>
          <pc:sldMk cId="1548333667" sldId="2147377442"/>
        </pc:sldMkLst>
      </pc:sldChg>
      <pc:sldChg chg="add">
        <pc:chgData name="Abdo YOUNES" userId="410625cc-30c9-462b-9b51-d67c878f9deb" providerId="ADAL" clId="{3CD0031A-BFCC-4C46-98F4-C146996B7387}" dt="2023-11-09T10:10:32.172" v="665"/>
        <pc:sldMkLst>
          <pc:docMk/>
          <pc:sldMk cId="1611988416" sldId="2147377445"/>
        </pc:sldMkLst>
      </pc:sldChg>
      <pc:sldChg chg="add">
        <pc:chgData name="Abdo YOUNES" userId="410625cc-30c9-462b-9b51-d67c878f9deb" providerId="ADAL" clId="{3CD0031A-BFCC-4C46-98F4-C146996B7387}" dt="2023-11-09T10:10:32.172" v="665"/>
        <pc:sldMkLst>
          <pc:docMk/>
          <pc:sldMk cId="789982425" sldId="2147377446"/>
        </pc:sldMkLst>
      </pc:sldChg>
    </pc:docChg>
  </pc:docChgLst>
  <pc:docChgLst>
    <pc:chgData name="Pamela NGO PONDI DELNISE" userId="0530e0ff-088f-43ee-9cb2-0e36e851107d" providerId="ADAL" clId="{82C8312D-AE14-4D9E-B6E1-79451B461957}"/>
    <pc:docChg chg="undo custSel addSld delSld modSld">
      <pc:chgData name="Pamela NGO PONDI DELNISE" userId="0530e0ff-088f-43ee-9cb2-0e36e851107d" providerId="ADAL" clId="{82C8312D-AE14-4D9E-B6E1-79451B461957}" dt="2023-11-07T18:16:53.194" v="12"/>
      <pc:docMkLst>
        <pc:docMk/>
      </pc:docMkLst>
      <pc:sldChg chg="add del">
        <pc:chgData name="Pamela NGO PONDI DELNISE" userId="0530e0ff-088f-43ee-9cb2-0e36e851107d" providerId="ADAL" clId="{82C8312D-AE14-4D9E-B6E1-79451B461957}" dt="2023-11-07T18:15:38.258" v="1" actId="2890"/>
        <pc:sldMkLst>
          <pc:docMk/>
          <pc:sldMk cId="1739693212" sldId="265"/>
        </pc:sldMkLst>
      </pc:sldChg>
      <pc:sldChg chg="addSp delSp modSp new mod">
        <pc:chgData name="Pamela NGO PONDI DELNISE" userId="0530e0ff-088f-43ee-9cb2-0e36e851107d" providerId="ADAL" clId="{82C8312D-AE14-4D9E-B6E1-79451B461957}" dt="2023-11-07T18:16:53.194" v="12"/>
        <pc:sldMkLst>
          <pc:docMk/>
          <pc:sldMk cId="2380994617" sldId="265"/>
        </pc:sldMkLst>
        <pc:spChg chg="add del">
          <ac:chgData name="Pamela NGO PONDI DELNISE" userId="0530e0ff-088f-43ee-9cb2-0e36e851107d" providerId="ADAL" clId="{82C8312D-AE14-4D9E-B6E1-79451B461957}" dt="2023-11-07T18:16:51.863" v="9" actId="478"/>
          <ac:spMkLst>
            <pc:docMk/>
            <pc:sldMk cId="2380994617" sldId="265"/>
            <ac:spMk id="2" creationId="{9290F0C3-68B9-5DE5-96F9-5C92852143CE}"/>
          </ac:spMkLst>
        </pc:spChg>
        <pc:spChg chg="add del">
          <ac:chgData name="Pamela NGO PONDI DELNISE" userId="0530e0ff-088f-43ee-9cb2-0e36e851107d" providerId="ADAL" clId="{82C8312D-AE14-4D9E-B6E1-79451B461957}" dt="2023-11-07T18:16:51.426" v="8" actId="478"/>
          <ac:spMkLst>
            <pc:docMk/>
            <pc:sldMk cId="2380994617" sldId="265"/>
            <ac:spMk id="5" creationId="{8A90C8C2-4207-E342-FF00-AA5C749FF7FB}"/>
          </ac:spMkLst>
        </pc:spChg>
        <pc:grpChg chg="add del mod">
          <ac:chgData name="Pamela NGO PONDI DELNISE" userId="0530e0ff-088f-43ee-9cb2-0e36e851107d" providerId="ADAL" clId="{82C8312D-AE14-4D9E-B6E1-79451B461957}" dt="2023-11-07T18:16:53.194" v="12"/>
          <ac:grpSpMkLst>
            <pc:docMk/>
            <pc:sldMk cId="2380994617" sldId="265"/>
            <ac:grpSpMk id="7" creationId="{7525FF06-B141-8576-E21A-87923CA71F98}"/>
          </ac:grpSpMkLst>
        </pc:grpChg>
        <pc:picChg chg="mod">
          <ac:chgData name="Pamela NGO PONDI DELNISE" userId="0530e0ff-088f-43ee-9cb2-0e36e851107d" providerId="ADAL" clId="{82C8312D-AE14-4D9E-B6E1-79451B461957}" dt="2023-11-07T18:16:20.943" v="3"/>
          <ac:picMkLst>
            <pc:docMk/>
            <pc:sldMk cId="2380994617" sldId="265"/>
            <ac:picMk id="8" creationId="{C5FB1427-7FFC-2C10-2135-DA38F79BF37E}"/>
          </ac:picMkLst>
        </pc:picChg>
        <pc:picChg chg="mod">
          <ac:chgData name="Pamela NGO PONDI DELNISE" userId="0530e0ff-088f-43ee-9cb2-0e36e851107d" providerId="ADAL" clId="{82C8312D-AE14-4D9E-B6E1-79451B461957}" dt="2023-11-07T18:16:20.943" v="3"/>
          <ac:picMkLst>
            <pc:docMk/>
            <pc:sldMk cId="2380994617" sldId="265"/>
            <ac:picMk id="9" creationId="{D5B6279E-5ED0-8F19-A7CA-3CE280B344C7}"/>
          </ac:picMkLst>
        </pc:picChg>
        <pc:picChg chg="mod">
          <ac:chgData name="Pamela NGO PONDI DELNISE" userId="0530e0ff-088f-43ee-9cb2-0e36e851107d" providerId="ADAL" clId="{82C8312D-AE14-4D9E-B6E1-79451B461957}" dt="2023-11-07T18:16:20.943" v="3"/>
          <ac:picMkLst>
            <pc:docMk/>
            <pc:sldMk cId="2380994617" sldId="265"/>
            <ac:picMk id="10" creationId="{0494B1DD-C4EC-2620-FC75-E460E8E13E7C}"/>
          </ac:picMkLst>
        </pc:picChg>
      </pc:sldChg>
    </pc:docChg>
  </pc:docChgLst>
  <pc:docChgLst>
    <pc:chgData name="Pierre CHAVANNE" userId="2e2e2412-eb49-4787-bd3d-d17adeb25e11" providerId="ADAL" clId="{B471E341-1007-4A2C-BABB-68E9AA75FAFC}"/>
    <pc:docChg chg="undo custSel addSld delSld modSld">
      <pc:chgData name="Pierre CHAVANNE" userId="2e2e2412-eb49-4787-bd3d-d17adeb25e11" providerId="ADAL" clId="{B471E341-1007-4A2C-BABB-68E9AA75FAFC}" dt="2024-05-02T10:22:04.987" v="5763" actId="207"/>
      <pc:docMkLst>
        <pc:docMk/>
      </pc:docMkLst>
      <pc:sldChg chg="modSp mod">
        <pc:chgData name="Pierre CHAVANNE" userId="2e2e2412-eb49-4787-bd3d-d17adeb25e11" providerId="ADAL" clId="{B471E341-1007-4A2C-BABB-68E9AA75FAFC}" dt="2024-05-02T10:07:51.774" v="5571" actId="207"/>
        <pc:sldMkLst>
          <pc:docMk/>
          <pc:sldMk cId="3721139861" sldId="352"/>
        </pc:sldMkLst>
        <pc:spChg chg="mod">
          <ac:chgData name="Pierre CHAVANNE" userId="2e2e2412-eb49-4787-bd3d-d17adeb25e11" providerId="ADAL" clId="{B471E341-1007-4A2C-BABB-68E9AA75FAFC}" dt="2024-05-02T10:07:51.774" v="5571" actId="207"/>
          <ac:spMkLst>
            <pc:docMk/>
            <pc:sldMk cId="3721139861" sldId="352"/>
            <ac:spMk id="4" creationId="{430F12B2-8A30-D6A2-6AC7-ABAE7B02E283}"/>
          </ac:spMkLst>
        </pc:spChg>
      </pc:sldChg>
      <pc:sldChg chg="addSp delSp modSp mod">
        <pc:chgData name="Pierre CHAVANNE" userId="2e2e2412-eb49-4787-bd3d-d17adeb25e11" providerId="ADAL" clId="{B471E341-1007-4A2C-BABB-68E9AA75FAFC}" dt="2024-04-30T14:58:34.209" v="4" actId="27614"/>
        <pc:sldMkLst>
          <pc:docMk/>
          <pc:sldMk cId="4088386266" sldId="358"/>
        </pc:sldMkLst>
        <pc:picChg chg="add mod">
          <ac:chgData name="Pierre CHAVANNE" userId="2e2e2412-eb49-4787-bd3d-d17adeb25e11" providerId="ADAL" clId="{B471E341-1007-4A2C-BABB-68E9AA75FAFC}" dt="2024-04-30T14:58:34.209" v="4" actId="27614"/>
          <ac:picMkLst>
            <pc:docMk/>
            <pc:sldMk cId="4088386266" sldId="358"/>
            <ac:picMk id="5" creationId="{B517EDCF-7D4E-DABC-729E-23F0169EE36D}"/>
          </ac:picMkLst>
        </pc:picChg>
        <pc:picChg chg="del">
          <ac:chgData name="Pierre CHAVANNE" userId="2e2e2412-eb49-4787-bd3d-d17adeb25e11" providerId="ADAL" clId="{B471E341-1007-4A2C-BABB-68E9AA75FAFC}" dt="2024-04-30T14:58:10.979" v="0" actId="478"/>
          <ac:picMkLst>
            <pc:docMk/>
            <pc:sldMk cId="4088386266" sldId="358"/>
            <ac:picMk id="10" creationId="{6649D353-4EB2-37E8-0186-420691660A07}"/>
          </ac:picMkLst>
        </pc:picChg>
      </pc:sldChg>
      <pc:sldChg chg="addSp delSp modSp add mod">
        <pc:chgData name="Pierre CHAVANNE" userId="2e2e2412-eb49-4787-bd3d-d17adeb25e11" providerId="ADAL" clId="{B471E341-1007-4A2C-BABB-68E9AA75FAFC}" dt="2024-05-02T09:28:25.831" v="4394" actId="14100"/>
        <pc:sldMkLst>
          <pc:docMk/>
          <pc:sldMk cId="700976620" sldId="363"/>
        </pc:sldMkLst>
        <pc:spChg chg="mod">
          <ac:chgData name="Pierre CHAVANNE" userId="2e2e2412-eb49-4787-bd3d-d17adeb25e11" providerId="ADAL" clId="{B471E341-1007-4A2C-BABB-68E9AA75FAFC}" dt="2024-04-30T14:59:26.767" v="9" actId="20577"/>
          <ac:spMkLst>
            <pc:docMk/>
            <pc:sldMk cId="700976620" sldId="363"/>
            <ac:spMk id="2" creationId="{E52B8373-62D1-544B-7A5C-41B622D6A38F}"/>
          </ac:spMkLst>
        </pc:spChg>
        <pc:spChg chg="mod">
          <ac:chgData name="Pierre CHAVANNE" userId="2e2e2412-eb49-4787-bd3d-d17adeb25e11" providerId="ADAL" clId="{B471E341-1007-4A2C-BABB-68E9AA75FAFC}" dt="2024-05-02T09:28:25.831" v="4394" actId="14100"/>
          <ac:spMkLst>
            <pc:docMk/>
            <pc:sldMk cId="700976620" sldId="363"/>
            <ac:spMk id="4" creationId="{430F12B2-8A30-D6A2-6AC7-ABAE7B02E283}"/>
          </ac:spMkLst>
        </pc:spChg>
        <pc:spChg chg="add del mod">
          <ac:chgData name="Pierre CHAVANNE" userId="2e2e2412-eb49-4787-bd3d-d17adeb25e11" providerId="ADAL" clId="{B471E341-1007-4A2C-BABB-68E9AA75FAFC}" dt="2024-04-30T16:00:27.319" v="1647" actId="478"/>
          <ac:spMkLst>
            <pc:docMk/>
            <pc:sldMk cId="700976620" sldId="363"/>
            <ac:spMk id="7" creationId="{67C65934-4348-19E7-5B82-CC4CD36C49D0}"/>
          </ac:spMkLst>
        </pc:spChg>
      </pc:sldChg>
      <pc:sldChg chg="addSp delSp modSp add del mod">
        <pc:chgData name="Pierre CHAVANNE" userId="2e2e2412-eb49-4787-bd3d-d17adeb25e11" providerId="ADAL" clId="{B471E341-1007-4A2C-BABB-68E9AA75FAFC}" dt="2024-05-02T09:48:58.112" v="5271" actId="47"/>
        <pc:sldMkLst>
          <pc:docMk/>
          <pc:sldMk cId="1823981144" sldId="364"/>
        </pc:sldMkLst>
        <pc:spChg chg="mod">
          <ac:chgData name="Pierre CHAVANNE" userId="2e2e2412-eb49-4787-bd3d-d17adeb25e11" providerId="ADAL" clId="{B471E341-1007-4A2C-BABB-68E9AA75FAFC}" dt="2024-04-30T14:59:31.949" v="14" actId="20577"/>
          <ac:spMkLst>
            <pc:docMk/>
            <pc:sldMk cId="1823981144" sldId="364"/>
            <ac:spMk id="2" creationId="{E52B8373-62D1-544B-7A5C-41B622D6A38F}"/>
          </ac:spMkLst>
        </pc:spChg>
        <pc:spChg chg="add mod">
          <ac:chgData name="Pierre CHAVANNE" userId="2e2e2412-eb49-4787-bd3d-d17adeb25e11" providerId="ADAL" clId="{B471E341-1007-4A2C-BABB-68E9AA75FAFC}" dt="2024-05-02T09:46:34.140" v="4859" actId="20577"/>
          <ac:spMkLst>
            <pc:docMk/>
            <pc:sldMk cId="1823981144" sldId="364"/>
            <ac:spMk id="3" creationId="{B024EC21-4B3B-DCF3-27FC-4E3ADDA8B016}"/>
          </ac:spMkLst>
        </pc:spChg>
        <pc:picChg chg="add del mod">
          <ac:chgData name="Pierre CHAVANNE" userId="2e2e2412-eb49-4787-bd3d-d17adeb25e11" providerId="ADAL" clId="{B471E341-1007-4A2C-BABB-68E9AA75FAFC}" dt="2024-05-02T09:25:47.540" v="4226" actId="478"/>
          <ac:picMkLst>
            <pc:docMk/>
            <pc:sldMk cId="1823981144" sldId="364"/>
            <ac:picMk id="8" creationId="{A1CCA656-3C91-AD49-F207-5981DD59B0DB}"/>
          </ac:picMkLst>
        </pc:picChg>
      </pc:sldChg>
      <pc:sldChg chg="modSp add del mod">
        <pc:chgData name="Pierre CHAVANNE" userId="2e2e2412-eb49-4787-bd3d-d17adeb25e11" providerId="ADAL" clId="{B471E341-1007-4A2C-BABB-68E9AA75FAFC}" dt="2024-05-02T09:49:00.694" v="5272" actId="47"/>
        <pc:sldMkLst>
          <pc:docMk/>
          <pc:sldMk cId="2132972295" sldId="365"/>
        </pc:sldMkLst>
        <pc:spChg chg="mod">
          <ac:chgData name="Pierre CHAVANNE" userId="2e2e2412-eb49-4787-bd3d-d17adeb25e11" providerId="ADAL" clId="{B471E341-1007-4A2C-BABB-68E9AA75FAFC}" dt="2024-04-30T14:59:37.368" v="17" actId="20577"/>
          <ac:spMkLst>
            <pc:docMk/>
            <pc:sldMk cId="2132972295" sldId="365"/>
            <ac:spMk id="2" creationId="{E52B8373-62D1-544B-7A5C-41B622D6A38F}"/>
          </ac:spMkLst>
        </pc:spChg>
      </pc:sldChg>
      <pc:sldChg chg="addSp delSp modSp add mod">
        <pc:chgData name="Pierre CHAVANNE" userId="2e2e2412-eb49-4787-bd3d-d17adeb25e11" providerId="ADAL" clId="{B471E341-1007-4A2C-BABB-68E9AA75FAFC}" dt="2024-05-02T09:46:10.021" v="4857" actId="20577"/>
        <pc:sldMkLst>
          <pc:docMk/>
          <pc:sldMk cId="213679590" sldId="366"/>
        </pc:sldMkLst>
        <pc:spChg chg="del">
          <ac:chgData name="Pierre CHAVANNE" userId="2e2e2412-eb49-4787-bd3d-d17adeb25e11" providerId="ADAL" clId="{B471E341-1007-4A2C-BABB-68E9AA75FAFC}" dt="2024-05-02T09:25:29.821" v="4218" actId="478"/>
          <ac:spMkLst>
            <pc:docMk/>
            <pc:sldMk cId="213679590" sldId="366"/>
            <ac:spMk id="2" creationId="{E52B8373-62D1-544B-7A5C-41B622D6A38F}"/>
          </ac:spMkLst>
        </pc:spChg>
        <pc:spChg chg="mod">
          <ac:chgData name="Pierre CHAVANNE" userId="2e2e2412-eb49-4787-bd3d-d17adeb25e11" providerId="ADAL" clId="{B471E341-1007-4A2C-BABB-68E9AA75FAFC}" dt="2024-05-02T09:46:10.021" v="4857" actId="20577"/>
          <ac:spMkLst>
            <pc:docMk/>
            <pc:sldMk cId="213679590" sldId="366"/>
            <ac:spMk id="4" creationId="{430F12B2-8A30-D6A2-6AC7-ABAE7B02E283}"/>
          </ac:spMkLst>
        </pc:spChg>
        <pc:spChg chg="add del mod">
          <ac:chgData name="Pierre CHAVANNE" userId="2e2e2412-eb49-4787-bd3d-d17adeb25e11" providerId="ADAL" clId="{B471E341-1007-4A2C-BABB-68E9AA75FAFC}" dt="2024-05-02T09:25:31.116" v="4219" actId="478"/>
          <ac:spMkLst>
            <pc:docMk/>
            <pc:sldMk cId="213679590" sldId="366"/>
            <ac:spMk id="7" creationId="{35F3C2B1-8907-B59A-2CD4-3E9A14203A39}"/>
          </ac:spMkLst>
        </pc:spChg>
        <pc:picChg chg="add mod">
          <ac:chgData name="Pierre CHAVANNE" userId="2e2e2412-eb49-4787-bd3d-d17adeb25e11" providerId="ADAL" clId="{B471E341-1007-4A2C-BABB-68E9AA75FAFC}" dt="2024-05-02T09:25:56.831" v="4229" actId="1076"/>
          <ac:picMkLst>
            <pc:docMk/>
            <pc:sldMk cId="213679590" sldId="366"/>
            <ac:picMk id="8" creationId="{4CB4801E-B1BD-22FE-50C1-F2B96CEC1E8F}"/>
          </ac:picMkLst>
        </pc:picChg>
      </pc:sldChg>
      <pc:sldChg chg="modSp add mod">
        <pc:chgData name="Pierre CHAVANNE" userId="2e2e2412-eb49-4787-bd3d-d17adeb25e11" providerId="ADAL" clId="{B471E341-1007-4A2C-BABB-68E9AA75FAFC}" dt="2024-05-02T09:45:49.978" v="4850" actId="20577"/>
        <pc:sldMkLst>
          <pc:docMk/>
          <pc:sldMk cId="3040194728" sldId="367"/>
        </pc:sldMkLst>
        <pc:spChg chg="mod">
          <ac:chgData name="Pierre CHAVANNE" userId="2e2e2412-eb49-4787-bd3d-d17adeb25e11" providerId="ADAL" clId="{B471E341-1007-4A2C-BABB-68E9AA75FAFC}" dt="2024-05-02T09:28:32.709" v="4397" actId="20577"/>
          <ac:spMkLst>
            <pc:docMk/>
            <pc:sldMk cId="3040194728" sldId="367"/>
            <ac:spMk id="2" creationId="{E52B8373-62D1-544B-7A5C-41B622D6A38F}"/>
          </ac:spMkLst>
        </pc:spChg>
        <pc:spChg chg="mod">
          <ac:chgData name="Pierre CHAVANNE" userId="2e2e2412-eb49-4787-bd3d-d17adeb25e11" providerId="ADAL" clId="{B471E341-1007-4A2C-BABB-68E9AA75FAFC}" dt="2024-05-02T09:45:49.978" v="4850" actId="20577"/>
          <ac:spMkLst>
            <pc:docMk/>
            <pc:sldMk cId="3040194728" sldId="367"/>
            <ac:spMk id="4" creationId="{430F12B2-8A30-D6A2-6AC7-ABAE7B02E283}"/>
          </ac:spMkLst>
        </pc:spChg>
      </pc:sldChg>
      <pc:sldChg chg="modSp add mod">
        <pc:chgData name="Pierre CHAVANNE" userId="2e2e2412-eb49-4787-bd3d-d17adeb25e11" providerId="ADAL" clId="{B471E341-1007-4A2C-BABB-68E9AA75FAFC}" dt="2024-05-02T10:22:04.987" v="5763" actId="207"/>
        <pc:sldMkLst>
          <pc:docMk/>
          <pc:sldMk cId="857414824" sldId="368"/>
        </pc:sldMkLst>
        <pc:spChg chg="mod">
          <ac:chgData name="Pierre CHAVANNE" userId="2e2e2412-eb49-4787-bd3d-d17adeb25e11" providerId="ADAL" clId="{B471E341-1007-4A2C-BABB-68E9AA75FAFC}" dt="2024-05-02T09:46:38.259" v="4863" actId="20577"/>
          <ac:spMkLst>
            <pc:docMk/>
            <pc:sldMk cId="857414824" sldId="368"/>
            <ac:spMk id="2" creationId="{E52B8373-62D1-544B-7A5C-41B622D6A38F}"/>
          </ac:spMkLst>
        </pc:spChg>
        <pc:spChg chg="mod">
          <ac:chgData name="Pierre CHAVANNE" userId="2e2e2412-eb49-4787-bd3d-d17adeb25e11" providerId="ADAL" clId="{B471E341-1007-4A2C-BABB-68E9AA75FAFC}" dt="2024-05-02T10:22:04.987" v="5763" actId="207"/>
          <ac:spMkLst>
            <pc:docMk/>
            <pc:sldMk cId="857414824" sldId="368"/>
            <ac:spMk id="4" creationId="{430F12B2-8A30-D6A2-6AC7-ABAE7B02E283}"/>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038A9303-B4F6-E552-C3D1-FA0DC0AB8C84}"/>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a:extLst>
              <a:ext uri="{FF2B5EF4-FFF2-40B4-BE49-F238E27FC236}">
                <a16:creationId xmlns:a16="http://schemas.microsoft.com/office/drawing/2014/main" id="{3682D4BF-766C-8650-0263-F27293731D9A}"/>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E13C183-07AE-4B89-ACA7-5D632C5C825C}" type="datetimeFigureOut">
              <a:rPr lang="fr-FR" smtClean="0"/>
              <a:t>02/05/2024</a:t>
            </a:fld>
            <a:endParaRPr lang="fr-FR"/>
          </a:p>
        </p:txBody>
      </p:sp>
      <p:sp>
        <p:nvSpPr>
          <p:cNvPr id="4" name="Espace réservé du pied de page 3">
            <a:extLst>
              <a:ext uri="{FF2B5EF4-FFF2-40B4-BE49-F238E27FC236}">
                <a16:creationId xmlns:a16="http://schemas.microsoft.com/office/drawing/2014/main" id="{9CFC8646-CC72-6754-5033-1BD6F724D849}"/>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5" name="Espace réservé du numéro de diapositive 4">
            <a:extLst>
              <a:ext uri="{FF2B5EF4-FFF2-40B4-BE49-F238E27FC236}">
                <a16:creationId xmlns:a16="http://schemas.microsoft.com/office/drawing/2014/main" id="{D22C46C1-2D39-1323-029A-E8B023CCFE2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C77836C-BBC5-40DC-A073-BE5112918FE1}" type="slidenum">
              <a:rPr lang="fr-FR" smtClean="0"/>
              <a:t>‹N°›</a:t>
            </a:fld>
            <a:endParaRPr lang="fr-FR"/>
          </a:p>
        </p:txBody>
      </p:sp>
    </p:spTree>
    <p:extLst>
      <p:ext uri="{BB962C8B-B14F-4D97-AF65-F5344CB8AC3E}">
        <p14:creationId xmlns:p14="http://schemas.microsoft.com/office/powerpoint/2010/main" val="189968692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EBECEC2-FB03-4B0D-8D34-0BB12B399CE3}" type="datetimeFigureOut">
              <a:rPr lang="fr-FR" smtClean="0"/>
              <a:t>02/05/2024</a:t>
            </a:fld>
            <a:endParaRPr lang="fr-FR"/>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639FB21-4CC7-4915-A71F-1808E83208B8}" type="slidenum">
              <a:rPr lang="fr-FR" smtClean="0"/>
              <a:t>‹N°›</a:t>
            </a:fld>
            <a:endParaRPr lang="fr-FR"/>
          </a:p>
        </p:txBody>
      </p:sp>
    </p:spTree>
    <p:extLst>
      <p:ext uri="{BB962C8B-B14F-4D97-AF65-F5344CB8AC3E}">
        <p14:creationId xmlns:p14="http://schemas.microsoft.com/office/powerpoint/2010/main" val="30070546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Diapositive de titre Technique">
    <p:spTree>
      <p:nvGrpSpPr>
        <p:cNvPr id="1" name=""/>
        <p:cNvGrpSpPr/>
        <p:nvPr/>
      </p:nvGrpSpPr>
      <p:grpSpPr>
        <a:xfrm>
          <a:off x="0" y="0"/>
          <a:ext cx="0" cy="0"/>
          <a:chOff x="0" y="0"/>
          <a:chExt cx="0" cy="0"/>
        </a:xfrm>
      </p:grpSpPr>
      <p:sp>
        <p:nvSpPr>
          <p:cNvPr id="12" name="Titre 6">
            <a:extLst>
              <a:ext uri="{FF2B5EF4-FFF2-40B4-BE49-F238E27FC236}">
                <a16:creationId xmlns:a16="http://schemas.microsoft.com/office/drawing/2014/main" id="{3E4F6379-D330-DE8C-432E-0B8C6F71E7DE}"/>
              </a:ext>
            </a:extLst>
          </p:cNvPr>
          <p:cNvSpPr>
            <a:spLocks noGrp="1"/>
          </p:cNvSpPr>
          <p:nvPr>
            <p:ph type="title" hasCustomPrompt="1"/>
          </p:nvPr>
        </p:nvSpPr>
        <p:spPr>
          <a:xfrm>
            <a:off x="2191657" y="2532125"/>
            <a:ext cx="5994662" cy="1012328"/>
          </a:xfrm>
          <a:prstGeom prst="rect">
            <a:avLst/>
          </a:prstGeom>
        </p:spPr>
        <p:txBody>
          <a:bodyPr wrap="square" anchor="t">
            <a:spAutoFit/>
          </a:bodyPr>
          <a:lstStyle>
            <a:lvl1pPr>
              <a:defRPr sz="6600">
                <a:solidFill>
                  <a:schemeClr val="tx1"/>
                </a:solidFill>
                <a:latin typeface="Aptos Black" panose="020B0004020202020204" pitchFamily="34" charset="0"/>
                <a:ea typeface="Roboto Light" panose="02000000000000000000" pitchFamily="2" charset="0"/>
              </a:defRPr>
            </a:lvl1pPr>
          </a:lstStyle>
          <a:p>
            <a:r>
              <a:rPr lang="fr-FR"/>
              <a:t>Titre principal</a:t>
            </a:r>
          </a:p>
        </p:txBody>
      </p:sp>
      <p:sp>
        <p:nvSpPr>
          <p:cNvPr id="16" name="Espace réservé du texte 21">
            <a:extLst>
              <a:ext uri="{FF2B5EF4-FFF2-40B4-BE49-F238E27FC236}">
                <a16:creationId xmlns:a16="http://schemas.microsoft.com/office/drawing/2014/main" id="{91BED003-7523-39BA-8039-18AB77B01818}"/>
              </a:ext>
            </a:extLst>
          </p:cNvPr>
          <p:cNvSpPr>
            <a:spLocks noGrp="1"/>
          </p:cNvSpPr>
          <p:nvPr>
            <p:ph type="body" sz="quarter" idx="10" hasCustomPrompt="1"/>
          </p:nvPr>
        </p:nvSpPr>
        <p:spPr>
          <a:xfrm>
            <a:off x="2191657" y="2124074"/>
            <a:ext cx="3355876" cy="392949"/>
          </a:xfrm>
          <a:prstGeom prst="rect">
            <a:avLst/>
          </a:prstGeom>
          <a:noFill/>
        </p:spPr>
        <p:txBody>
          <a:bodyPr wrap="square" lIns="108000" rIns="108000" anchor="ctr"/>
          <a:lstStyle>
            <a:lvl1pPr marL="0" indent="0" algn="l">
              <a:lnSpc>
                <a:spcPct val="100000"/>
              </a:lnSpc>
              <a:buNone/>
              <a:defRPr sz="1600" b="0" spc="300">
                <a:gradFill>
                  <a:gsLst>
                    <a:gs pos="0">
                      <a:schemeClr val="accent2"/>
                    </a:gs>
                    <a:gs pos="100000">
                      <a:schemeClr val="accent3"/>
                    </a:gs>
                  </a:gsLst>
                  <a:lin ang="0" scaled="1"/>
                </a:gradFill>
                <a:latin typeface="Aptos Black" panose="020B0004020202020204" pitchFamily="34" charset="0"/>
                <a:ea typeface="Roboto Black" panose="02000000000000000000" pitchFamily="2" charset="0"/>
              </a:defRPr>
            </a:lvl1pPr>
          </a:lstStyle>
          <a:p>
            <a:pPr lvl="0"/>
            <a:r>
              <a:rPr lang="fr-FR"/>
              <a:t>TITRE SECONDAIRE</a:t>
            </a:r>
          </a:p>
        </p:txBody>
      </p:sp>
      <p:cxnSp>
        <p:nvCxnSpPr>
          <p:cNvPr id="30" name="Connecteur droit 29">
            <a:extLst>
              <a:ext uri="{FF2B5EF4-FFF2-40B4-BE49-F238E27FC236}">
                <a16:creationId xmlns:a16="http://schemas.microsoft.com/office/drawing/2014/main" id="{709B4EBB-6983-E176-E243-CB4047334C9C}"/>
              </a:ext>
            </a:extLst>
          </p:cNvPr>
          <p:cNvCxnSpPr>
            <a:cxnSpLocks/>
          </p:cNvCxnSpPr>
          <p:nvPr userDrawn="1"/>
        </p:nvCxnSpPr>
        <p:spPr>
          <a:xfrm flipV="1">
            <a:off x="419099" y="293712"/>
            <a:ext cx="0" cy="109220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 name="Connecteur droit 1">
            <a:extLst>
              <a:ext uri="{FF2B5EF4-FFF2-40B4-BE49-F238E27FC236}">
                <a16:creationId xmlns:a16="http://schemas.microsoft.com/office/drawing/2014/main" id="{BC66E5F5-3D2E-54A5-434E-F87A24C7AF02}"/>
              </a:ext>
            </a:extLst>
          </p:cNvPr>
          <p:cNvCxnSpPr>
            <a:cxnSpLocks/>
          </p:cNvCxnSpPr>
          <p:nvPr userDrawn="1"/>
        </p:nvCxnSpPr>
        <p:spPr>
          <a:xfrm>
            <a:off x="11264379" y="6509414"/>
            <a:ext cx="466725" cy="0"/>
          </a:xfrm>
          <a:prstGeom prst="line">
            <a:avLst/>
          </a:prstGeom>
          <a:ln w="38100">
            <a:gradFill flip="none" rotWithShape="1">
              <a:gsLst>
                <a:gs pos="0">
                  <a:schemeClr val="accent2"/>
                </a:gs>
                <a:gs pos="100000">
                  <a:schemeClr val="accent3"/>
                </a:gs>
              </a:gsLst>
              <a:lin ang="0" scaled="1"/>
              <a:tileRect/>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2257252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Diapositive de titre Business">
    <p:spTree>
      <p:nvGrpSpPr>
        <p:cNvPr id="1" name=""/>
        <p:cNvGrpSpPr/>
        <p:nvPr/>
      </p:nvGrpSpPr>
      <p:grpSpPr>
        <a:xfrm>
          <a:off x="0" y="0"/>
          <a:ext cx="0" cy="0"/>
          <a:chOff x="0" y="0"/>
          <a:chExt cx="0" cy="0"/>
        </a:xfrm>
      </p:grpSpPr>
      <p:sp>
        <p:nvSpPr>
          <p:cNvPr id="26" name="Espace réservé pour une image  25">
            <a:extLst>
              <a:ext uri="{FF2B5EF4-FFF2-40B4-BE49-F238E27FC236}">
                <a16:creationId xmlns:a16="http://schemas.microsoft.com/office/drawing/2014/main" id="{457EAFD9-CAE2-D16A-819F-A0E22CCD1D7D}"/>
              </a:ext>
            </a:extLst>
          </p:cNvPr>
          <p:cNvSpPr>
            <a:spLocks noGrp="1"/>
          </p:cNvSpPr>
          <p:nvPr>
            <p:ph type="pic" sz="quarter" idx="11"/>
          </p:nvPr>
        </p:nvSpPr>
        <p:spPr>
          <a:xfrm>
            <a:off x="823548" y="0"/>
            <a:ext cx="3824652" cy="6858000"/>
          </a:xfrm>
          <a:prstGeom prst="rect">
            <a:avLst/>
          </a:prstGeom>
        </p:spPr>
        <p:txBody>
          <a:bodyPr/>
          <a:lstStyle/>
          <a:p>
            <a:endParaRPr lang="fr-FR"/>
          </a:p>
        </p:txBody>
      </p:sp>
      <p:sp>
        <p:nvSpPr>
          <p:cNvPr id="28" name="Titre 6">
            <a:extLst>
              <a:ext uri="{FF2B5EF4-FFF2-40B4-BE49-F238E27FC236}">
                <a16:creationId xmlns:a16="http://schemas.microsoft.com/office/drawing/2014/main" id="{9199A312-781A-ABF0-3EA6-9D8D6B3DD26E}"/>
              </a:ext>
            </a:extLst>
          </p:cNvPr>
          <p:cNvSpPr>
            <a:spLocks noGrp="1"/>
          </p:cNvSpPr>
          <p:nvPr>
            <p:ph type="title" hasCustomPrompt="1"/>
          </p:nvPr>
        </p:nvSpPr>
        <p:spPr>
          <a:xfrm>
            <a:off x="5145578" y="862117"/>
            <a:ext cx="6150886" cy="649922"/>
          </a:xfrm>
          <a:prstGeom prst="rect">
            <a:avLst/>
          </a:prstGeom>
        </p:spPr>
        <p:txBody>
          <a:bodyPr wrap="square" anchor="t">
            <a:spAutoFit/>
          </a:bodyPr>
          <a:lstStyle>
            <a:lvl1pPr>
              <a:defRPr sz="4000">
                <a:solidFill>
                  <a:schemeClr val="tx1"/>
                </a:solidFill>
                <a:latin typeface="Aptos Black" panose="020B0004020202020204" pitchFamily="34" charset="0"/>
                <a:ea typeface="Roboto Light" panose="02000000000000000000" pitchFamily="2" charset="0"/>
              </a:defRPr>
            </a:lvl1pPr>
          </a:lstStyle>
          <a:p>
            <a:r>
              <a:rPr lang="fr-FR"/>
              <a:t>Titre du chapitre</a:t>
            </a:r>
          </a:p>
        </p:txBody>
      </p:sp>
      <p:sp>
        <p:nvSpPr>
          <p:cNvPr id="29" name="Espace réservé du texte 21">
            <a:extLst>
              <a:ext uri="{FF2B5EF4-FFF2-40B4-BE49-F238E27FC236}">
                <a16:creationId xmlns:a16="http://schemas.microsoft.com/office/drawing/2014/main" id="{D58A0B9C-9626-6691-3518-2FE1A3DCD5C4}"/>
              </a:ext>
            </a:extLst>
          </p:cNvPr>
          <p:cNvSpPr>
            <a:spLocks noGrp="1"/>
          </p:cNvSpPr>
          <p:nvPr>
            <p:ph type="body" sz="quarter" idx="10" hasCustomPrompt="1"/>
          </p:nvPr>
        </p:nvSpPr>
        <p:spPr>
          <a:xfrm>
            <a:off x="5145578" y="518322"/>
            <a:ext cx="2716798" cy="337445"/>
          </a:xfrm>
          <a:prstGeom prst="rect">
            <a:avLst/>
          </a:prstGeom>
          <a:noFill/>
        </p:spPr>
        <p:txBody>
          <a:bodyPr wrap="square" lIns="108000" rIns="108000" anchor="ctr"/>
          <a:lstStyle>
            <a:lvl1pPr marL="0" indent="0" algn="l">
              <a:lnSpc>
                <a:spcPct val="100000"/>
              </a:lnSpc>
              <a:buNone/>
              <a:defRPr sz="1600" b="0" spc="0">
                <a:gradFill>
                  <a:gsLst>
                    <a:gs pos="0">
                      <a:schemeClr val="accent2"/>
                    </a:gs>
                    <a:gs pos="100000">
                      <a:schemeClr val="accent3"/>
                    </a:gs>
                  </a:gsLst>
                  <a:lin ang="0" scaled="1"/>
                </a:gradFill>
                <a:latin typeface="Aptos Black" panose="020B0004020202020204" pitchFamily="34" charset="0"/>
                <a:ea typeface="Roboto Black" panose="02000000000000000000" pitchFamily="2" charset="0"/>
              </a:defRPr>
            </a:lvl1pPr>
          </a:lstStyle>
          <a:p>
            <a:pPr lvl="0"/>
            <a:r>
              <a:rPr lang="fr-FR"/>
              <a:t>TITRE SECONDAIRE</a:t>
            </a:r>
          </a:p>
        </p:txBody>
      </p:sp>
      <p:sp>
        <p:nvSpPr>
          <p:cNvPr id="31" name="Espace réservé du texte 30">
            <a:extLst>
              <a:ext uri="{FF2B5EF4-FFF2-40B4-BE49-F238E27FC236}">
                <a16:creationId xmlns:a16="http://schemas.microsoft.com/office/drawing/2014/main" id="{DD0B3A63-785E-5CEA-47EB-5C0182A5CF8C}"/>
              </a:ext>
            </a:extLst>
          </p:cNvPr>
          <p:cNvSpPr>
            <a:spLocks noGrp="1"/>
          </p:cNvSpPr>
          <p:nvPr>
            <p:ph type="body" sz="quarter" idx="12"/>
          </p:nvPr>
        </p:nvSpPr>
        <p:spPr>
          <a:xfrm>
            <a:off x="5145578" y="1901293"/>
            <a:ext cx="6585526" cy="3858821"/>
          </a:xfrm>
          <a:prstGeom prst="rect">
            <a:avLst/>
          </a:prstGeom>
        </p:spPr>
        <p:txBody>
          <a:bodyPr/>
          <a:lstStyle>
            <a:lvl1pPr marL="0" indent="0" algn="l">
              <a:buNone/>
              <a:defRPr sz="1600">
                <a:solidFill>
                  <a:schemeClr val="tx1"/>
                </a:solidFill>
                <a:latin typeface="Roboto" panose="02000000000000000000" pitchFamily="2" charset="0"/>
                <a:ea typeface="Roboto" panose="02000000000000000000" pitchFamily="2" charset="0"/>
              </a:defRPr>
            </a:lvl1pPr>
            <a:lvl2pPr marL="457200" indent="0" algn="l">
              <a:buNone/>
              <a:defRPr sz="1600">
                <a:solidFill>
                  <a:schemeClr val="tx1"/>
                </a:solidFill>
                <a:latin typeface="Roboto" panose="02000000000000000000" pitchFamily="2" charset="0"/>
                <a:ea typeface="Roboto" panose="02000000000000000000" pitchFamily="2" charset="0"/>
              </a:defRPr>
            </a:lvl2pPr>
            <a:lvl3pPr marL="914400" indent="0" algn="l">
              <a:buNone/>
              <a:defRPr sz="1600">
                <a:solidFill>
                  <a:schemeClr val="tx1"/>
                </a:solidFill>
                <a:latin typeface="Roboto" panose="02000000000000000000" pitchFamily="2" charset="0"/>
                <a:ea typeface="Roboto" panose="02000000000000000000" pitchFamily="2" charset="0"/>
              </a:defRPr>
            </a:lvl3pPr>
            <a:lvl4pPr marL="1371600" indent="0" algn="l">
              <a:buNone/>
              <a:defRPr sz="1600">
                <a:solidFill>
                  <a:schemeClr val="tx1"/>
                </a:solidFill>
                <a:latin typeface="Roboto" panose="02000000000000000000" pitchFamily="2" charset="0"/>
                <a:ea typeface="Roboto" panose="02000000000000000000" pitchFamily="2" charset="0"/>
              </a:defRPr>
            </a:lvl4pPr>
            <a:lvl5pPr marL="1828800" indent="0" algn="l">
              <a:buNone/>
              <a:defRPr sz="1600">
                <a:solidFill>
                  <a:schemeClr val="tx1"/>
                </a:solidFill>
                <a:latin typeface="Roboto" panose="02000000000000000000" pitchFamily="2" charset="0"/>
                <a:ea typeface="Roboto" panose="02000000000000000000" pitchFamily="2" charset="0"/>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cxnSp>
        <p:nvCxnSpPr>
          <p:cNvPr id="43" name="Connecteur droit 42">
            <a:extLst>
              <a:ext uri="{FF2B5EF4-FFF2-40B4-BE49-F238E27FC236}">
                <a16:creationId xmlns:a16="http://schemas.microsoft.com/office/drawing/2014/main" id="{2A223E6C-534C-616C-0B57-43709E258178}"/>
              </a:ext>
            </a:extLst>
          </p:cNvPr>
          <p:cNvCxnSpPr>
            <a:cxnSpLocks/>
          </p:cNvCxnSpPr>
          <p:nvPr userDrawn="1"/>
        </p:nvCxnSpPr>
        <p:spPr>
          <a:xfrm flipV="1">
            <a:off x="419099" y="293712"/>
            <a:ext cx="0" cy="109220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 name="Connecteur droit 1">
            <a:extLst>
              <a:ext uri="{FF2B5EF4-FFF2-40B4-BE49-F238E27FC236}">
                <a16:creationId xmlns:a16="http://schemas.microsoft.com/office/drawing/2014/main" id="{14067F85-B36B-3386-5BF6-D6FDF5017A92}"/>
              </a:ext>
            </a:extLst>
          </p:cNvPr>
          <p:cNvCxnSpPr>
            <a:cxnSpLocks/>
          </p:cNvCxnSpPr>
          <p:nvPr userDrawn="1"/>
        </p:nvCxnSpPr>
        <p:spPr>
          <a:xfrm>
            <a:off x="11264379" y="6509414"/>
            <a:ext cx="466725" cy="0"/>
          </a:xfrm>
          <a:prstGeom prst="line">
            <a:avLst/>
          </a:prstGeom>
          <a:ln w="38100">
            <a:gradFill flip="none" rotWithShape="1">
              <a:gsLst>
                <a:gs pos="0">
                  <a:schemeClr val="accent2"/>
                </a:gs>
                <a:gs pos="100000">
                  <a:schemeClr val="accent3"/>
                </a:gs>
              </a:gsLst>
              <a:lin ang="0" scaled="1"/>
              <a:tileRect/>
            </a:gradFill>
          </a:ln>
        </p:spPr>
        <p:style>
          <a:lnRef idx="1">
            <a:schemeClr val="accent1"/>
          </a:lnRef>
          <a:fillRef idx="0">
            <a:schemeClr val="accent1"/>
          </a:fillRef>
          <a:effectRef idx="0">
            <a:schemeClr val="accent1"/>
          </a:effectRef>
          <a:fontRef idx="minor">
            <a:schemeClr val="tx1"/>
          </a:fontRef>
        </p:style>
      </p:cxnSp>
      <p:pic>
        <p:nvPicPr>
          <p:cNvPr id="9" name="Image 8" descr="Une image contenant Police, logo, Graphique, texte&#10;&#10;Description générée automatiquement">
            <a:extLst>
              <a:ext uri="{FF2B5EF4-FFF2-40B4-BE49-F238E27FC236}">
                <a16:creationId xmlns:a16="http://schemas.microsoft.com/office/drawing/2014/main" id="{1F683BC9-7695-458A-5AD1-49B7AC997C5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6200000">
            <a:off x="-18133" y="1919597"/>
            <a:ext cx="903698" cy="312102"/>
          </a:xfrm>
          <a:prstGeom prst="rect">
            <a:avLst/>
          </a:prstGeom>
        </p:spPr>
      </p:pic>
      <p:sp>
        <p:nvSpPr>
          <p:cNvPr id="3" name="Espace réservé du numéro de diapositive 2">
            <a:extLst>
              <a:ext uri="{FF2B5EF4-FFF2-40B4-BE49-F238E27FC236}">
                <a16:creationId xmlns:a16="http://schemas.microsoft.com/office/drawing/2014/main" id="{AC27C169-CE80-9FE8-B370-E27DFFF7B983}"/>
              </a:ext>
            </a:extLst>
          </p:cNvPr>
          <p:cNvSpPr>
            <a:spLocks noGrp="1"/>
          </p:cNvSpPr>
          <p:nvPr>
            <p:ph type="sldNum" sz="quarter" idx="13"/>
          </p:nvPr>
        </p:nvSpPr>
        <p:spPr/>
        <p:txBody>
          <a:bodyPr/>
          <a:lstStyle/>
          <a:p>
            <a:fld id="{E9F690C6-F4CD-4FC2-95DF-E832AE3B8C23}" type="slidenum">
              <a:rPr lang="fr-FR" smtClean="0"/>
              <a:pPr/>
              <a:t>‹N°›</a:t>
            </a:fld>
            <a:endParaRPr lang="fr-FR"/>
          </a:p>
        </p:txBody>
      </p:sp>
    </p:spTree>
    <p:extLst>
      <p:ext uri="{BB962C8B-B14F-4D97-AF65-F5344CB8AC3E}">
        <p14:creationId xmlns:p14="http://schemas.microsoft.com/office/powerpoint/2010/main" val="118994548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13" name="Espace réservé du texte 30">
            <a:extLst>
              <a:ext uri="{FF2B5EF4-FFF2-40B4-BE49-F238E27FC236}">
                <a16:creationId xmlns:a16="http://schemas.microsoft.com/office/drawing/2014/main" id="{CB3E22DA-CFD3-6D83-C8D4-837191043111}"/>
              </a:ext>
            </a:extLst>
          </p:cNvPr>
          <p:cNvSpPr>
            <a:spLocks noGrp="1"/>
          </p:cNvSpPr>
          <p:nvPr>
            <p:ph type="body" sz="quarter" idx="12"/>
          </p:nvPr>
        </p:nvSpPr>
        <p:spPr>
          <a:xfrm>
            <a:off x="1284443" y="1951429"/>
            <a:ext cx="6413139" cy="3858821"/>
          </a:xfrm>
          <a:prstGeom prst="rect">
            <a:avLst/>
          </a:prstGeom>
        </p:spPr>
        <p:txBody>
          <a:bodyPr/>
          <a:lstStyle>
            <a:lvl1pPr marL="0" indent="0" algn="l">
              <a:buNone/>
              <a:defRPr sz="1600">
                <a:solidFill>
                  <a:schemeClr val="tx1"/>
                </a:solidFill>
                <a:latin typeface="Roboto" panose="02000000000000000000" pitchFamily="2" charset="0"/>
                <a:ea typeface="Roboto" panose="02000000000000000000" pitchFamily="2" charset="0"/>
              </a:defRPr>
            </a:lvl1pPr>
            <a:lvl2pPr marL="457200" indent="0" algn="l">
              <a:buNone/>
              <a:defRPr sz="1600">
                <a:solidFill>
                  <a:schemeClr val="tx1"/>
                </a:solidFill>
                <a:latin typeface="Roboto" panose="02000000000000000000" pitchFamily="2" charset="0"/>
                <a:ea typeface="Roboto" panose="02000000000000000000" pitchFamily="2" charset="0"/>
              </a:defRPr>
            </a:lvl2pPr>
            <a:lvl3pPr marL="914400" indent="0" algn="l">
              <a:buNone/>
              <a:defRPr sz="1600">
                <a:solidFill>
                  <a:schemeClr val="tx1"/>
                </a:solidFill>
                <a:latin typeface="Roboto" panose="02000000000000000000" pitchFamily="2" charset="0"/>
                <a:ea typeface="Roboto" panose="02000000000000000000" pitchFamily="2" charset="0"/>
              </a:defRPr>
            </a:lvl3pPr>
            <a:lvl4pPr marL="1371600" indent="0" algn="l">
              <a:buNone/>
              <a:defRPr sz="1600">
                <a:solidFill>
                  <a:schemeClr val="tx1"/>
                </a:solidFill>
                <a:latin typeface="Roboto" panose="02000000000000000000" pitchFamily="2" charset="0"/>
                <a:ea typeface="Roboto" panose="02000000000000000000" pitchFamily="2" charset="0"/>
              </a:defRPr>
            </a:lvl4pPr>
            <a:lvl5pPr marL="1828800" indent="0" algn="l">
              <a:buNone/>
              <a:defRPr sz="1600">
                <a:solidFill>
                  <a:schemeClr val="tx1"/>
                </a:solidFill>
                <a:latin typeface="Roboto" panose="02000000000000000000" pitchFamily="2" charset="0"/>
                <a:ea typeface="Roboto" panose="02000000000000000000" pitchFamily="2" charset="0"/>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8" name="Espace réservé pour une image  17">
            <a:extLst>
              <a:ext uri="{FF2B5EF4-FFF2-40B4-BE49-F238E27FC236}">
                <a16:creationId xmlns:a16="http://schemas.microsoft.com/office/drawing/2014/main" id="{BE167679-2301-6F36-3852-3B4045BFCBF5}"/>
              </a:ext>
            </a:extLst>
          </p:cNvPr>
          <p:cNvSpPr>
            <a:spLocks noGrp="1"/>
          </p:cNvSpPr>
          <p:nvPr>
            <p:ph type="pic" sz="quarter" idx="13"/>
          </p:nvPr>
        </p:nvSpPr>
        <p:spPr>
          <a:xfrm>
            <a:off x="8190760" y="1"/>
            <a:ext cx="4001240" cy="4695824"/>
          </a:xfrm>
          <a:prstGeom prst="rect">
            <a:avLst/>
          </a:prstGeom>
        </p:spPr>
        <p:txBody>
          <a:bodyPr/>
          <a:lstStyle/>
          <a:p>
            <a:endParaRPr lang="fr-FR"/>
          </a:p>
        </p:txBody>
      </p:sp>
      <p:cxnSp>
        <p:nvCxnSpPr>
          <p:cNvPr id="25" name="Connecteur droit 24">
            <a:extLst>
              <a:ext uri="{FF2B5EF4-FFF2-40B4-BE49-F238E27FC236}">
                <a16:creationId xmlns:a16="http://schemas.microsoft.com/office/drawing/2014/main" id="{1AADE0E3-C0A9-639A-4C6E-3146C6D0B3F5}"/>
              </a:ext>
            </a:extLst>
          </p:cNvPr>
          <p:cNvCxnSpPr>
            <a:cxnSpLocks/>
          </p:cNvCxnSpPr>
          <p:nvPr userDrawn="1"/>
        </p:nvCxnSpPr>
        <p:spPr>
          <a:xfrm flipV="1">
            <a:off x="419099" y="293712"/>
            <a:ext cx="0" cy="109220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Titre 6">
            <a:extLst>
              <a:ext uri="{FF2B5EF4-FFF2-40B4-BE49-F238E27FC236}">
                <a16:creationId xmlns:a16="http://schemas.microsoft.com/office/drawing/2014/main" id="{6D3BAEC0-0E83-B928-B801-C7C5AAB6CF22}"/>
              </a:ext>
            </a:extLst>
          </p:cNvPr>
          <p:cNvSpPr>
            <a:spLocks noGrp="1"/>
          </p:cNvSpPr>
          <p:nvPr>
            <p:ph type="title" hasCustomPrompt="1"/>
          </p:nvPr>
        </p:nvSpPr>
        <p:spPr>
          <a:xfrm>
            <a:off x="1284443" y="794197"/>
            <a:ext cx="6413137" cy="649922"/>
          </a:xfrm>
          <a:prstGeom prst="rect">
            <a:avLst/>
          </a:prstGeom>
        </p:spPr>
        <p:txBody>
          <a:bodyPr wrap="square" anchor="t">
            <a:spAutoFit/>
          </a:bodyPr>
          <a:lstStyle>
            <a:lvl1pPr>
              <a:defRPr sz="4000">
                <a:solidFill>
                  <a:schemeClr val="tx1"/>
                </a:solidFill>
                <a:latin typeface="Aptos Black" panose="020B0004020202020204" pitchFamily="34" charset="0"/>
                <a:ea typeface="Roboto Light" panose="02000000000000000000" pitchFamily="2" charset="0"/>
              </a:defRPr>
            </a:lvl1pPr>
          </a:lstStyle>
          <a:p>
            <a:r>
              <a:rPr lang="fr-FR"/>
              <a:t>Titre du chapitre</a:t>
            </a:r>
          </a:p>
        </p:txBody>
      </p:sp>
      <p:sp>
        <p:nvSpPr>
          <p:cNvPr id="28" name="Espace réservé du texte 21">
            <a:extLst>
              <a:ext uri="{FF2B5EF4-FFF2-40B4-BE49-F238E27FC236}">
                <a16:creationId xmlns:a16="http://schemas.microsoft.com/office/drawing/2014/main" id="{FD075ACD-85B0-676D-96F1-267FC9FAEAF0}"/>
              </a:ext>
            </a:extLst>
          </p:cNvPr>
          <p:cNvSpPr>
            <a:spLocks noGrp="1"/>
          </p:cNvSpPr>
          <p:nvPr>
            <p:ph type="body" sz="quarter" idx="10" hasCustomPrompt="1"/>
          </p:nvPr>
        </p:nvSpPr>
        <p:spPr>
          <a:xfrm>
            <a:off x="1284444" y="450402"/>
            <a:ext cx="2716798" cy="337445"/>
          </a:xfrm>
          <a:prstGeom prst="rect">
            <a:avLst/>
          </a:prstGeom>
          <a:noFill/>
        </p:spPr>
        <p:txBody>
          <a:bodyPr wrap="square" lIns="108000" rIns="108000" anchor="ctr"/>
          <a:lstStyle>
            <a:lvl1pPr marL="0" indent="0" algn="l">
              <a:lnSpc>
                <a:spcPct val="100000"/>
              </a:lnSpc>
              <a:buNone/>
              <a:defRPr sz="1600" b="0" spc="0">
                <a:gradFill>
                  <a:gsLst>
                    <a:gs pos="0">
                      <a:schemeClr val="accent2"/>
                    </a:gs>
                    <a:gs pos="100000">
                      <a:schemeClr val="accent3"/>
                    </a:gs>
                  </a:gsLst>
                  <a:lin ang="0" scaled="1"/>
                </a:gradFill>
                <a:latin typeface="Aptos Black" panose="020B0004020202020204" pitchFamily="34" charset="0"/>
                <a:ea typeface="Roboto Black" panose="02000000000000000000" pitchFamily="2" charset="0"/>
              </a:defRPr>
            </a:lvl1pPr>
          </a:lstStyle>
          <a:p>
            <a:pPr lvl="0"/>
            <a:r>
              <a:rPr lang="fr-FR"/>
              <a:t>TITRE SECONDAIRE</a:t>
            </a:r>
          </a:p>
        </p:txBody>
      </p:sp>
      <p:cxnSp>
        <p:nvCxnSpPr>
          <p:cNvPr id="3" name="Connecteur droit 2">
            <a:extLst>
              <a:ext uri="{FF2B5EF4-FFF2-40B4-BE49-F238E27FC236}">
                <a16:creationId xmlns:a16="http://schemas.microsoft.com/office/drawing/2014/main" id="{C23191D1-2D32-3081-D821-7D040C3345DA}"/>
              </a:ext>
            </a:extLst>
          </p:cNvPr>
          <p:cNvCxnSpPr>
            <a:cxnSpLocks/>
          </p:cNvCxnSpPr>
          <p:nvPr userDrawn="1"/>
        </p:nvCxnSpPr>
        <p:spPr>
          <a:xfrm>
            <a:off x="11264379" y="6509414"/>
            <a:ext cx="466725" cy="0"/>
          </a:xfrm>
          <a:prstGeom prst="line">
            <a:avLst/>
          </a:prstGeom>
          <a:ln w="38100">
            <a:gradFill flip="none" rotWithShape="1">
              <a:gsLst>
                <a:gs pos="0">
                  <a:schemeClr val="accent2"/>
                </a:gs>
                <a:gs pos="100000">
                  <a:schemeClr val="accent3"/>
                </a:gs>
              </a:gsLst>
              <a:lin ang="0" scaled="1"/>
              <a:tileRect/>
            </a:gradFill>
          </a:ln>
        </p:spPr>
        <p:style>
          <a:lnRef idx="1">
            <a:schemeClr val="accent1"/>
          </a:lnRef>
          <a:fillRef idx="0">
            <a:schemeClr val="accent1"/>
          </a:fillRef>
          <a:effectRef idx="0">
            <a:schemeClr val="accent1"/>
          </a:effectRef>
          <a:fontRef idx="minor">
            <a:schemeClr val="tx1"/>
          </a:fontRef>
        </p:style>
      </p:cxnSp>
      <p:pic>
        <p:nvPicPr>
          <p:cNvPr id="4" name="Image 3" descr="Une image contenant Police, logo, Graphique, texte&#10;&#10;Description générée automatiquement">
            <a:extLst>
              <a:ext uri="{FF2B5EF4-FFF2-40B4-BE49-F238E27FC236}">
                <a16:creationId xmlns:a16="http://schemas.microsoft.com/office/drawing/2014/main" id="{311B91B0-689A-5824-7B57-29759F0DA1D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6200000">
            <a:off x="-18133" y="1919597"/>
            <a:ext cx="903698" cy="312102"/>
          </a:xfrm>
          <a:prstGeom prst="rect">
            <a:avLst/>
          </a:prstGeom>
        </p:spPr>
      </p:pic>
      <p:sp>
        <p:nvSpPr>
          <p:cNvPr id="2" name="Espace réservé du numéro de diapositive 1">
            <a:extLst>
              <a:ext uri="{FF2B5EF4-FFF2-40B4-BE49-F238E27FC236}">
                <a16:creationId xmlns:a16="http://schemas.microsoft.com/office/drawing/2014/main" id="{5D0FB26D-E6E2-DA31-8B0A-1BFF090589A8}"/>
              </a:ext>
            </a:extLst>
          </p:cNvPr>
          <p:cNvSpPr>
            <a:spLocks noGrp="1"/>
          </p:cNvSpPr>
          <p:nvPr>
            <p:ph type="sldNum" sz="quarter" idx="14"/>
          </p:nvPr>
        </p:nvSpPr>
        <p:spPr/>
        <p:txBody>
          <a:bodyPr/>
          <a:lstStyle/>
          <a:p>
            <a:fld id="{E9F690C6-F4CD-4FC2-95DF-E832AE3B8C23}" type="slidenum">
              <a:rPr lang="fr-FR" smtClean="0"/>
              <a:pPr/>
              <a:t>‹N°›</a:t>
            </a:fld>
            <a:endParaRPr lang="fr-FR"/>
          </a:p>
        </p:txBody>
      </p:sp>
    </p:spTree>
    <p:extLst>
      <p:ext uri="{BB962C8B-B14F-4D97-AF65-F5344CB8AC3E}">
        <p14:creationId xmlns:p14="http://schemas.microsoft.com/office/powerpoint/2010/main" val="40106502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re et contenu">
    <p:spTree>
      <p:nvGrpSpPr>
        <p:cNvPr id="1" name=""/>
        <p:cNvGrpSpPr/>
        <p:nvPr/>
      </p:nvGrpSpPr>
      <p:grpSpPr>
        <a:xfrm>
          <a:off x="0" y="0"/>
          <a:ext cx="0" cy="0"/>
          <a:chOff x="0" y="0"/>
          <a:chExt cx="0" cy="0"/>
        </a:xfrm>
      </p:grpSpPr>
      <p:cxnSp>
        <p:nvCxnSpPr>
          <p:cNvPr id="25" name="Connecteur droit 24">
            <a:extLst>
              <a:ext uri="{FF2B5EF4-FFF2-40B4-BE49-F238E27FC236}">
                <a16:creationId xmlns:a16="http://schemas.microsoft.com/office/drawing/2014/main" id="{1AADE0E3-C0A9-639A-4C6E-3146C6D0B3F5}"/>
              </a:ext>
            </a:extLst>
          </p:cNvPr>
          <p:cNvCxnSpPr>
            <a:cxnSpLocks/>
          </p:cNvCxnSpPr>
          <p:nvPr userDrawn="1"/>
        </p:nvCxnSpPr>
        <p:spPr>
          <a:xfrm flipV="1">
            <a:off x="419099" y="293712"/>
            <a:ext cx="0" cy="109220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Titre 6">
            <a:extLst>
              <a:ext uri="{FF2B5EF4-FFF2-40B4-BE49-F238E27FC236}">
                <a16:creationId xmlns:a16="http://schemas.microsoft.com/office/drawing/2014/main" id="{6D3BAEC0-0E83-B928-B801-C7C5AAB6CF22}"/>
              </a:ext>
            </a:extLst>
          </p:cNvPr>
          <p:cNvSpPr>
            <a:spLocks noGrp="1"/>
          </p:cNvSpPr>
          <p:nvPr>
            <p:ph type="title" hasCustomPrompt="1"/>
          </p:nvPr>
        </p:nvSpPr>
        <p:spPr>
          <a:xfrm>
            <a:off x="1284444" y="794197"/>
            <a:ext cx="6150886" cy="649922"/>
          </a:xfrm>
          <a:prstGeom prst="rect">
            <a:avLst/>
          </a:prstGeom>
        </p:spPr>
        <p:txBody>
          <a:bodyPr wrap="square" anchor="t">
            <a:spAutoFit/>
          </a:bodyPr>
          <a:lstStyle>
            <a:lvl1pPr>
              <a:defRPr sz="4000">
                <a:solidFill>
                  <a:schemeClr val="tx1"/>
                </a:solidFill>
                <a:latin typeface="Aptos Black" panose="020B0004020202020204" pitchFamily="34" charset="0"/>
                <a:ea typeface="Roboto Light" panose="02000000000000000000" pitchFamily="2" charset="0"/>
              </a:defRPr>
            </a:lvl1pPr>
          </a:lstStyle>
          <a:p>
            <a:r>
              <a:rPr lang="fr-FR"/>
              <a:t>Titre du chapitre</a:t>
            </a:r>
          </a:p>
        </p:txBody>
      </p:sp>
      <p:sp>
        <p:nvSpPr>
          <p:cNvPr id="28" name="Espace réservé du texte 21">
            <a:extLst>
              <a:ext uri="{FF2B5EF4-FFF2-40B4-BE49-F238E27FC236}">
                <a16:creationId xmlns:a16="http://schemas.microsoft.com/office/drawing/2014/main" id="{FD075ACD-85B0-676D-96F1-267FC9FAEAF0}"/>
              </a:ext>
            </a:extLst>
          </p:cNvPr>
          <p:cNvSpPr>
            <a:spLocks noGrp="1"/>
          </p:cNvSpPr>
          <p:nvPr>
            <p:ph type="body" sz="quarter" idx="10" hasCustomPrompt="1"/>
          </p:nvPr>
        </p:nvSpPr>
        <p:spPr>
          <a:xfrm>
            <a:off x="1284444" y="450402"/>
            <a:ext cx="2716798" cy="337445"/>
          </a:xfrm>
          <a:prstGeom prst="rect">
            <a:avLst/>
          </a:prstGeom>
          <a:noFill/>
        </p:spPr>
        <p:txBody>
          <a:bodyPr wrap="square" lIns="108000" rIns="108000" anchor="ctr"/>
          <a:lstStyle>
            <a:lvl1pPr marL="0" indent="0" algn="l">
              <a:lnSpc>
                <a:spcPct val="100000"/>
              </a:lnSpc>
              <a:buNone/>
              <a:defRPr sz="1600" b="0" spc="0">
                <a:gradFill>
                  <a:gsLst>
                    <a:gs pos="0">
                      <a:schemeClr val="accent2"/>
                    </a:gs>
                    <a:gs pos="100000">
                      <a:schemeClr val="accent3"/>
                    </a:gs>
                  </a:gsLst>
                  <a:lin ang="0" scaled="1"/>
                </a:gradFill>
                <a:latin typeface="Aptos Black" panose="020B0004020202020204" pitchFamily="34" charset="0"/>
                <a:ea typeface="Roboto Black" panose="02000000000000000000" pitchFamily="2" charset="0"/>
              </a:defRPr>
            </a:lvl1pPr>
          </a:lstStyle>
          <a:p>
            <a:pPr lvl="0"/>
            <a:r>
              <a:rPr lang="fr-FR"/>
              <a:t>TITRE SECONDAIRE</a:t>
            </a:r>
          </a:p>
        </p:txBody>
      </p:sp>
      <p:cxnSp>
        <p:nvCxnSpPr>
          <p:cNvPr id="3" name="Connecteur droit 2">
            <a:extLst>
              <a:ext uri="{FF2B5EF4-FFF2-40B4-BE49-F238E27FC236}">
                <a16:creationId xmlns:a16="http://schemas.microsoft.com/office/drawing/2014/main" id="{949320C5-1BC0-FC2D-0E7C-7F3FC77D224F}"/>
              </a:ext>
            </a:extLst>
          </p:cNvPr>
          <p:cNvCxnSpPr>
            <a:cxnSpLocks/>
          </p:cNvCxnSpPr>
          <p:nvPr userDrawn="1"/>
        </p:nvCxnSpPr>
        <p:spPr>
          <a:xfrm>
            <a:off x="11264379" y="6509414"/>
            <a:ext cx="466725" cy="0"/>
          </a:xfrm>
          <a:prstGeom prst="line">
            <a:avLst/>
          </a:prstGeom>
          <a:ln w="38100">
            <a:gradFill flip="none" rotWithShape="1">
              <a:gsLst>
                <a:gs pos="0">
                  <a:schemeClr val="accent2"/>
                </a:gs>
                <a:gs pos="100000">
                  <a:schemeClr val="accent3"/>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4" name="Espace réservé du texte 30">
            <a:extLst>
              <a:ext uri="{FF2B5EF4-FFF2-40B4-BE49-F238E27FC236}">
                <a16:creationId xmlns:a16="http://schemas.microsoft.com/office/drawing/2014/main" id="{0585007F-7C01-152C-CACB-75D4C1B4FD10}"/>
              </a:ext>
            </a:extLst>
          </p:cNvPr>
          <p:cNvSpPr>
            <a:spLocks noGrp="1"/>
          </p:cNvSpPr>
          <p:nvPr>
            <p:ph type="body" sz="quarter" idx="16"/>
          </p:nvPr>
        </p:nvSpPr>
        <p:spPr>
          <a:xfrm>
            <a:off x="1284444" y="1951428"/>
            <a:ext cx="4811556" cy="3858821"/>
          </a:xfrm>
          <a:prstGeom prst="rect">
            <a:avLst/>
          </a:prstGeom>
        </p:spPr>
        <p:txBody>
          <a:bodyPr/>
          <a:lstStyle>
            <a:lvl1pPr marL="0" indent="0" algn="l">
              <a:buNone/>
              <a:defRPr sz="1600">
                <a:solidFill>
                  <a:schemeClr val="tx1"/>
                </a:solidFill>
                <a:latin typeface="Roboto" panose="02000000000000000000" pitchFamily="2" charset="0"/>
                <a:ea typeface="Roboto" panose="02000000000000000000" pitchFamily="2" charset="0"/>
              </a:defRPr>
            </a:lvl1pPr>
            <a:lvl2pPr marL="457200" indent="0" algn="l">
              <a:buNone/>
              <a:defRPr sz="1600">
                <a:solidFill>
                  <a:schemeClr val="tx1"/>
                </a:solidFill>
                <a:latin typeface="Roboto" panose="02000000000000000000" pitchFamily="2" charset="0"/>
                <a:ea typeface="Roboto" panose="02000000000000000000" pitchFamily="2" charset="0"/>
              </a:defRPr>
            </a:lvl2pPr>
            <a:lvl3pPr marL="914400" indent="0" algn="l">
              <a:buNone/>
              <a:defRPr sz="1600">
                <a:solidFill>
                  <a:schemeClr val="tx1"/>
                </a:solidFill>
                <a:latin typeface="Roboto" panose="02000000000000000000" pitchFamily="2" charset="0"/>
                <a:ea typeface="Roboto" panose="02000000000000000000" pitchFamily="2" charset="0"/>
              </a:defRPr>
            </a:lvl3pPr>
            <a:lvl4pPr marL="1371600" indent="0" algn="l">
              <a:buNone/>
              <a:defRPr sz="1600">
                <a:solidFill>
                  <a:schemeClr val="tx1"/>
                </a:solidFill>
                <a:latin typeface="Roboto" panose="02000000000000000000" pitchFamily="2" charset="0"/>
                <a:ea typeface="Roboto" panose="02000000000000000000" pitchFamily="2" charset="0"/>
              </a:defRPr>
            </a:lvl4pPr>
            <a:lvl5pPr marL="1828800" indent="0" algn="l">
              <a:buNone/>
              <a:defRPr sz="1600">
                <a:solidFill>
                  <a:schemeClr val="tx1"/>
                </a:solidFill>
                <a:latin typeface="Roboto" panose="02000000000000000000" pitchFamily="2" charset="0"/>
                <a:ea typeface="Roboto" panose="02000000000000000000" pitchFamily="2" charset="0"/>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30">
            <a:extLst>
              <a:ext uri="{FF2B5EF4-FFF2-40B4-BE49-F238E27FC236}">
                <a16:creationId xmlns:a16="http://schemas.microsoft.com/office/drawing/2014/main" id="{8DB07211-B5A9-CBF1-54F6-E4E4D5B55CAC}"/>
              </a:ext>
            </a:extLst>
          </p:cNvPr>
          <p:cNvSpPr>
            <a:spLocks noGrp="1"/>
          </p:cNvSpPr>
          <p:nvPr>
            <p:ph type="body" sz="quarter" idx="17"/>
          </p:nvPr>
        </p:nvSpPr>
        <p:spPr>
          <a:xfrm>
            <a:off x="6919548" y="1951427"/>
            <a:ext cx="4811556" cy="3858821"/>
          </a:xfrm>
          <a:prstGeom prst="rect">
            <a:avLst/>
          </a:prstGeom>
        </p:spPr>
        <p:txBody>
          <a:bodyPr/>
          <a:lstStyle>
            <a:lvl1pPr marL="0" indent="0" algn="l">
              <a:buNone/>
              <a:defRPr sz="1600">
                <a:solidFill>
                  <a:schemeClr val="tx1"/>
                </a:solidFill>
                <a:latin typeface="Roboto" panose="02000000000000000000" pitchFamily="2" charset="0"/>
                <a:ea typeface="Roboto" panose="02000000000000000000" pitchFamily="2" charset="0"/>
              </a:defRPr>
            </a:lvl1pPr>
            <a:lvl2pPr marL="457200" indent="0" algn="l">
              <a:buNone/>
              <a:defRPr sz="1600">
                <a:solidFill>
                  <a:schemeClr val="tx1"/>
                </a:solidFill>
                <a:latin typeface="Roboto" panose="02000000000000000000" pitchFamily="2" charset="0"/>
                <a:ea typeface="Roboto" panose="02000000000000000000" pitchFamily="2" charset="0"/>
              </a:defRPr>
            </a:lvl2pPr>
            <a:lvl3pPr marL="914400" indent="0" algn="l">
              <a:buNone/>
              <a:defRPr sz="1600">
                <a:solidFill>
                  <a:schemeClr val="tx1"/>
                </a:solidFill>
                <a:latin typeface="Roboto" panose="02000000000000000000" pitchFamily="2" charset="0"/>
                <a:ea typeface="Roboto" panose="02000000000000000000" pitchFamily="2" charset="0"/>
              </a:defRPr>
            </a:lvl3pPr>
            <a:lvl4pPr marL="1371600" indent="0" algn="l">
              <a:buNone/>
              <a:defRPr sz="1600">
                <a:solidFill>
                  <a:schemeClr val="tx1"/>
                </a:solidFill>
                <a:latin typeface="Roboto" panose="02000000000000000000" pitchFamily="2" charset="0"/>
                <a:ea typeface="Roboto" panose="02000000000000000000" pitchFamily="2" charset="0"/>
              </a:defRPr>
            </a:lvl4pPr>
            <a:lvl5pPr marL="1828800" indent="0" algn="l">
              <a:buNone/>
              <a:defRPr sz="1600">
                <a:solidFill>
                  <a:schemeClr val="tx1"/>
                </a:solidFill>
                <a:latin typeface="Roboto" panose="02000000000000000000" pitchFamily="2" charset="0"/>
                <a:ea typeface="Roboto" panose="02000000000000000000" pitchFamily="2" charset="0"/>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pic>
        <p:nvPicPr>
          <p:cNvPr id="2" name="Image 1" descr="Une image contenant Police, logo, Graphique, texte&#10;&#10;Description générée automatiquement">
            <a:extLst>
              <a:ext uri="{FF2B5EF4-FFF2-40B4-BE49-F238E27FC236}">
                <a16:creationId xmlns:a16="http://schemas.microsoft.com/office/drawing/2014/main" id="{C3FC50FC-0E1F-D129-6BE7-554D44F4E68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6200000">
            <a:off x="-18133" y="1919597"/>
            <a:ext cx="903698" cy="312102"/>
          </a:xfrm>
          <a:prstGeom prst="rect">
            <a:avLst/>
          </a:prstGeom>
        </p:spPr>
      </p:pic>
      <p:sp>
        <p:nvSpPr>
          <p:cNvPr id="6" name="Espace réservé du numéro de diapositive 5">
            <a:extLst>
              <a:ext uri="{FF2B5EF4-FFF2-40B4-BE49-F238E27FC236}">
                <a16:creationId xmlns:a16="http://schemas.microsoft.com/office/drawing/2014/main" id="{0AF130F6-0601-5854-0093-5C5B4246D91F}"/>
              </a:ext>
            </a:extLst>
          </p:cNvPr>
          <p:cNvSpPr>
            <a:spLocks noGrp="1"/>
          </p:cNvSpPr>
          <p:nvPr>
            <p:ph type="sldNum" sz="quarter" idx="18"/>
          </p:nvPr>
        </p:nvSpPr>
        <p:spPr/>
        <p:txBody>
          <a:bodyPr/>
          <a:lstStyle/>
          <a:p>
            <a:fld id="{E9F690C6-F4CD-4FC2-95DF-E832AE3B8C23}" type="slidenum">
              <a:rPr lang="fr-FR" smtClean="0"/>
              <a:pPr/>
              <a:t>‹N°›</a:t>
            </a:fld>
            <a:endParaRPr lang="fr-FR"/>
          </a:p>
        </p:txBody>
      </p:sp>
    </p:spTree>
    <p:extLst>
      <p:ext uri="{BB962C8B-B14F-4D97-AF65-F5344CB8AC3E}">
        <p14:creationId xmlns:p14="http://schemas.microsoft.com/office/powerpoint/2010/main" val="374704373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re et contenu">
    <p:spTree>
      <p:nvGrpSpPr>
        <p:cNvPr id="1" name=""/>
        <p:cNvGrpSpPr/>
        <p:nvPr/>
      </p:nvGrpSpPr>
      <p:grpSpPr>
        <a:xfrm>
          <a:off x="0" y="0"/>
          <a:ext cx="0" cy="0"/>
          <a:chOff x="0" y="0"/>
          <a:chExt cx="0" cy="0"/>
        </a:xfrm>
      </p:grpSpPr>
      <p:sp>
        <p:nvSpPr>
          <p:cNvPr id="4" name="Espace réservé pour une image  3">
            <a:extLst>
              <a:ext uri="{FF2B5EF4-FFF2-40B4-BE49-F238E27FC236}">
                <a16:creationId xmlns:a16="http://schemas.microsoft.com/office/drawing/2014/main" id="{B4D34AAA-843C-2D3C-E9A6-0BA2E7344EE1}"/>
              </a:ext>
            </a:extLst>
          </p:cNvPr>
          <p:cNvSpPr>
            <a:spLocks noGrp="1"/>
          </p:cNvSpPr>
          <p:nvPr>
            <p:ph type="pic" sz="quarter" idx="14"/>
          </p:nvPr>
        </p:nvSpPr>
        <p:spPr>
          <a:xfrm>
            <a:off x="5518150" y="0"/>
            <a:ext cx="3155275" cy="6858000"/>
          </a:xfrm>
          <a:prstGeom prst="rect">
            <a:avLst/>
          </a:prstGeom>
        </p:spPr>
        <p:txBody>
          <a:bodyPr/>
          <a:lstStyle/>
          <a:p>
            <a:endParaRPr lang="fr-FR"/>
          </a:p>
        </p:txBody>
      </p:sp>
      <p:sp>
        <p:nvSpPr>
          <p:cNvPr id="15" name="Espace réservé du contenu 14">
            <a:extLst>
              <a:ext uri="{FF2B5EF4-FFF2-40B4-BE49-F238E27FC236}">
                <a16:creationId xmlns:a16="http://schemas.microsoft.com/office/drawing/2014/main" id="{D2B618FE-C282-7212-FF5E-6E4D3B442A0E}"/>
              </a:ext>
            </a:extLst>
          </p:cNvPr>
          <p:cNvSpPr>
            <a:spLocks noGrp="1"/>
          </p:cNvSpPr>
          <p:nvPr>
            <p:ph sz="quarter" idx="15"/>
          </p:nvPr>
        </p:nvSpPr>
        <p:spPr>
          <a:xfrm>
            <a:off x="429966" y="293713"/>
            <a:ext cx="4580184" cy="6191837"/>
          </a:xfrm>
          <a:prstGeom prst="rect">
            <a:avLst/>
          </a:prstGeom>
        </p:spPr>
        <p:txBody>
          <a:bodyPr anchor="ctr"/>
          <a:lstStyle>
            <a:lvl1pPr>
              <a:defRPr sz="1800">
                <a:latin typeface="Roboto" panose="02000000000000000000" pitchFamily="2" charset="0"/>
                <a:ea typeface="Roboto" panose="02000000000000000000" pitchFamily="2" charset="0"/>
              </a:defRPr>
            </a:lvl1pPr>
            <a:lvl2pPr>
              <a:defRPr sz="1800">
                <a:latin typeface="Roboto" panose="02000000000000000000" pitchFamily="2" charset="0"/>
                <a:ea typeface="Roboto" panose="02000000000000000000" pitchFamily="2" charset="0"/>
              </a:defRPr>
            </a:lvl2pPr>
            <a:lvl3pPr>
              <a:defRPr sz="1800">
                <a:latin typeface="Roboto" panose="02000000000000000000" pitchFamily="2" charset="0"/>
                <a:ea typeface="Roboto" panose="02000000000000000000" pitchFamily="2" charset="0"/>
              </a:defRPr>
            </a:lvl3pPr>
            <a:lvl4pPr>
              <a:defRPr sz="1800">
                <a:latin typeface="Roboto" panose="02000000000000000000" pitchFamily="2" charset="0"/>
                <a:ea typeface="Roboto" panose="02000000000000000000" pitchFamily="2" charset="0"/>
              </a:defRPr>
            </a:lvl4pPr>
            <a:lvl5pPr>
              <a:defRPr sz="1800">
                <a:latin typeface="Roboto" panose="02000000000000000000" pitchFamily="2" charset="0"/>
                <a:ea typeface="Roboto" panose="02000000000000000000" pitchFamily="2" charset="0"/>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cxnSp>
        <p:nvCxnSpPr>
          <p:cNvPr id="9" name="Connecteur droit 8">
            <a:extLst>
              <a:ext uri="{FF2B5EF4-FFF2-40B4-BE49-F238E27FC236}">
                <a16:creationId xmlns:a16="http://schemas.microsoft.com/office/drawing/2014/main" id="{13338EA4-42A5-F89E-0C64-9B9D3E467E0C}"/>
              </a:ext>
            </a:extLst>
          </p:cNvPr>
          <p:cNvCxnSpPr>
            <a:cxnSpLocks/>
          </p:cNvCxnSpPr>
          <p:nvPr userDrawn="1"/>
        </p:nvCxnSpPr>
        <p:spPr>
          <a:xfrm flipV="1">
            <a:off x="11813444" y="293713"/>
            <a:ext cx="0" cy="109220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Connecteur droit 10">
            <a:extLst>
              <a:ext uri="{FF2B5EF4-FFF2-40B4-BE49-F238E27FC236}">
                <a16:creationId xmlns:a16="http://schemas.microsoft.com/office/drawing/2014/main" id="{E7DD4D0A-C989-9AF8-1102-E0E3F3A7477F}"/>
              </a:ext>
            </a:extLst>
          </p:cNvPr>
          <p:cNvCxnSpPr>
            <a:cxnSpLocks/>
          </p:cNvCxnSpPr>
          <p:nvPr userDrawn="1"/>
        </p:nvCxnSpPr>
        <p:spPr>
          <a:xfrm>
            <a:off x="429966" y="6508439"/>
            <a:ext cx="466725" cy="0"/>
          </a:xfrm>
          <a:prstGeom prst="line">
            <a:avLst/>
          </a:prstGeom>
          <a:ln w="38100">
            <a:gradFill flip="none" rotWithShape="1">
              <a:gsLst>
                <a:gs pos="0">
                  <a:schemeClr val="accent2"/>
                </a:gs>
                <a:gs pos="100000">
                  <a:schemeClr val="accent3"/>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2" name="Titre 6">
            <a:extLst>
              <a:ext uri="{FF2B5EF4-FFF2-40B4-BE49-F238E27FC236}">
                <a16:creationId xmlns:a16="http://schemas.microsoft.com/office/drawing/2014/main" id="{99CA06E6-918D-AA47-60D7-06C449021E74}"/>
              </a:ext>
            </a:extLst>
          </p:cNvPr>
          <p:cNvSpPr>
            <a:spLocks noGrp="1"/>
          </p:cNvSpPr>
          <p:nvPr>
            <p:ph type="title" hasCustomPrompt="1"/>
          </p:nvPr>
        </p:nvSpPr>
        <p:spPr>
          <a:xfrm>
            <a:off x="9096646" y="3772795"/>
            <a:ext cx="2716798" cy="1203919"/>
          </a:xfrm>
          <a:prstGeom prst="rect">
            <a:avLst/>
          </a:prstGeom>
        </p:spPr>
        <p:txBody>
          <a:bodyPr wrap="square" anchor="t">
            <a:spAutoFit/>
          </a:bodyPr>
          <a:lstStyle>
            <a:lvl1pPr>
              <a:defRPr sz="4000">
                <a:solidFill>
                  <a:schemeClr val="tx1"/>
                </a:solidFill>
                <a:latin typeface="Aptos Black" panose="020B0004020202020204" pitchFamily="34" charset="0"/>
                <a:ea typeface="Roboto Light" panose="02000000000000000000" pitchFamily="2" charset="0"/>
              </a:defRPr>
            </a:lvl1pPr>
          </a:lstStyle>
          <a:p>
            <a:r>
              <a:rPr lang="fr-FR"/>
              <a:t>Titre du chapitre</a:t>
            </a:r>
          </a:p>
        </p:txBody>
      </p:sp>
      <p:sp>
        <p:nvSpPr>
          <p:cNvPr id="13" name="Espace réservé du texte 21">
            <a:extLst>
              <a:ext uri="{FF2B5EF4-FFF2-40B4-BE49-F238E27FC236}">
                <a16:creationId xmlns:a16="http://schemas.microsoft.com/office/drawing/2014/main" id="{BE9D7ED7-078D-1CD5-CDB6-61986D71B726}"/>
              </a:ext>
            </a:extLst>
          </p:cNvPr>
          <p:cNvSpPr>
            <a:spLocks noGrp="1"/>
          </p:cNvSpPr>
          <p:nvPr>
            <p:ph type="body" sz="quarter" idx="10" hasCustomPrompt="1"/>
          </p:nvPr>
        </p:nvSpPr>
        <p:spPr>
          <a:xfrm>
            <a:off x="9096646" y="3429000"/>
            <a:ext cx="2716798" cy="337445"/>
          </a:xfrm>
          <a:prstGeom prst="rect">
            <a:avLst/>
          </a:prstGeom>
          <a:noFill/>
        </p:spPr>
        <p:txBody>
          <a:bodyPr wrap="square" lIns="108000" rIns="108000" anchor="ctr"/>
          <a:lstStyle>
            <a:lvl1pPr marL="0" indent="0" algn="l">
              <a:lnSpc>
                <a:spcPct val="100000"/>
              </a:lnSpc>
              <a:buNone/>
              <a:defRPr sz="1600" b="0" spc="0">
                <a:gradFill flip="none" rotWithShape="1">
                  <a:gsLst>
                    <a:gs pos="0">
                      <a:schemeClr val="accent2"/>
                    </a:gs>
                    <a:gs pos="100000">
                      <a:schemeClr val="accent3"/>
                    </a:gs>
                  </a:gsLst>
                  <a:lin ang="0" scaled="1"/>
                  <a:tileRect/>
                </a:gradFill>
                <a:latin typeface="Aptos Black" panose="020B0004020202020204" pitchFamily="34" charset="0"/>
                <a:ea typeface="Roboto Black" panose="02000000000000000000" pitchFamily="2" charset="0"/>
              </a:defRPr>
            </a:lvl1pPr>
          </a:lstStyle>
          <a:p>
            <a:pPr lvl="0"/>
            <a:r>
              <a:rPr lang="fr-FR"/>
              <a:t>TITRE SECONDAIRE</a:t>
            </a:r>
          </a:p>
        </p:txBody>
      </p:sp>
      <p:sp>
        <p:nvSpPr>
          <p:cNvPr id="3" name="Espace réservé du numéro de diapositive 2">
            <a:extLst>
              <a:ext uri="{FF2B5EF4-FFF2-40B4-BE49-F238E27FC236}">
                <a16:creationId xmlns:a16="http://schemas.microsoft.com/office/drawing/2014/main" id="{BA974361-4431-BAB6-087A-C12C1133DD46}"/>
              </a:ext>
            </a:extLst>
          </p:cNvPr>
          <p:cNvSpPr>
            <a:spLocks noGrp="1"/>
          </p:cNvSpPr>
          <p:nvPr>
            <p:ph type="sldNum" sz="quarter" idx="16"/>
          </p:nvPr>
        </p:nvSpPr>
        <p:spPr>
          <a:xfrm>
            <a:off x="11554652" y="6342062"/>
            <a:ext cx="517584" cy="365125"/>
          </a:xfrm>
        </p:spPr>
        <p:txBody>
          <a:bodyPr/>
          <a:lstStyle/>
          <a:p>
            <a:fld id="{E9F690C6-F4CD-4FC2-95DF-E832AE3B8C23}" type="slidenum">
              <a:rPr lang="fr-FR" smtClean="0"/>
              <a:pPr/>
              <a:t>‹N°›</a:t>
            </a:fld>
            <a:endParaRPr lang="fr-FR"/>
          </a:p>
        </p:txBody>
      </p:sp>
    </p:spTree>
    <p:extLst>
      <p:ext uri="{BB962C8B-B14F-4D97-AF65-F5344CB8AC3E}">
        <p14:creationId xmlns:p14="http://schemas.microsoft.com/office/powerpoint/2010/main" val="276998376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sposition personnalisée">
    <p:spTree>
      <p:nvGrpSpPr>
        <p:cNvPr id="1" name=""/>
        <p:cNvGrpSpPr/>
        <p:nvPr/>
      </p:nvGrpSpPr>
      <p:grpSpPr>
        <a:xfrm>
          <a:off x="0" y="0"/>
          <a:ext cx="0" cy="0"/>
          <a:chOff x="0" y="0"/>
          <a:chExt cx="0" cy="0"/>
        </a:xfrm>
      </p:grpSpPr>
      <p:sp>
        <p:nvSpPr>
          <p:cNvPr id="2" name="Titre 6">
            <a:extLst>
              <a:ext uri="{FF2B5EF4-FFF2-40B4-BE49-F238E27FC236}">
                <a16:creationId xmlns:a16="http://schemas.microsoft.com/office/drawing/2014/main" id="{914675BD-49E0-A80E-F8E9-0FD6C52A0093}"/>
              </a:ext>
            </a:extLst>
          </p:cNvPr>
          <p:cNvSpPr>
            <a:spLocks noGrp="1"/>
          </p:cNvSpPr>
          <p:nvPr>
            <p:ph type="title" hasCustomPrompt="1"/>
          </p:nvPr>
        </p:nvSpPr>
        <p:spPr>
          <a:xfrm>
            <a:off x="1284444" y="794197"/>
            <a:ext cx="6150886" cy="649922"/>
          </a:xfrm>
          <a:prstGeom prst="rect">
            <a:avLst/>
          </a:prstGeom>
        </p:spPr>
        <p:txBody>
          <a:bodyPr wrap="square" anchor="t">
            <a:spAutoFit/>
          </a:bodyPr>
          <a:lstStyle>
            <a:lvl1pPr>
              <a:defRPr sz="4000">
                <a:solidFill>
                  <a:schemeClr val="tx1"/>
                </a:solidFill>
                <a:latin typeface="Aptos Black" panose="020B0004020202020204" pitchFamily="34" charset="0"/>
                <a:ea typeface="Roboto Light" panose="02000000000000000000" pitchFamily="2" charset="0"/>
              </a:defRPr>
            </a:lvl1pPr>
          </a:lstStyle>
          <a:p>
            <a:r>
              <a:rPr lang="fr-FR"/>
              <a:t>Titre du chapitre</a:t>
            </a:r>
          </a:p>
        </p:txBody>
      </p:sp>
      <p:sp>
        <p:nvSpPr>
          <p:cNvPr id="3" name="Espace réservé du texte 21">
            <a:extLst>
              <a:ext uri="{FF2B5EF4-FFF2-40B4-BE49-F238E27FC236}">
                <a16:creationId xmlns:a16="http://schemas.microsoft.com/office/drawing/2014/main" id="{DA5F74D6-1A7E-8D15-99FF-A53E5925556B}"/>
              </a:ext>
            </a:extLst>
          </p:cNvPr>
          <p:cNvSpPr>
            <a:spLocks noGrp="1"/>
          </p:cNvSpPr>
          <p:nvPr>
            <p:ph type="body" sz="quarter" idx="10" hasCustomPrompt="1"/>
          </p:nvPr>
        </p:nvSpPr>
        <p:spPr>
          <a:xfrm>
            <a:off x="1284444" y="450402"/>
            <a:ext cx="2716798" cy="337445"/>
          </a:xfrm>
          <a:prstGeom prst="rect">
            <a:avLst/>
          </a:prstGeom>
          <a:noFill/>
        </p:spPr>
        <p:txBody>
          <a:bodyPr wrap="square" lIns="108000" rIns="108000" anchor="ctr"/>
          <a:lstStyle>
            <a:lvl1pPr marL="0" indent="0" algn="l">
              <a:lnSpc>
                <a:spcPct val="100000"/>
              </a:lnSpc>
              <a:buNone/>
              <a:defRPr sz="1600" b="0" spc="300">
                <a:solidFill>
                  <a:schemeClr val="accent3"/>
                </a:solidFill>
                <a:latin typeface="Aptos Black" panose="020B0004020202020204" pitchFamily="34" charset="0"/>
                <a:ea typeface="Roboto Black" panose="02000000000000000000" pitchFamily="2" charset="0"/>
              </a:defRPr>
            </a:lvl1pPr>
          </a:lstStyle>
          <a:p>
            <a:pPr lvl="0"/>
            <a:r>
              <a:rPr lang="fr-FR"/>
              <a:t>TITRE SECONDAIRE</a:t>
            </a:r>
          </a:p>
        </p:txBody>
      </p:sp>
    </p:spTree>
    <p:extLst>
      <p:ext uri="{BB962C8B-B14F-4D97-AF65-F5344CB8AC3E}">
        <p14:creationId xmlns:p14="http://schemas.microsoft.com/office/powerpoint/2010/main" val="282417000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26B59F8-62A3-D2CB-6ED9-346941B0425A}"/>
              </a:ext>
            </a:extLst>
          </p:cNvPr>
          <p:cNvGraphicFramePr>
            <a:graphicFrameLocks noChangeAspect="1"/>
          </p:cNvGraphicFramePr>
          <p:nvPr userDrawn="1">
            <p:custDataLst>
              <p:tags r:id="rId8"/>
            </p:custDataLst>
            <p:extLst>
              <p:ext uri="{D42A27DB-BD31-4B8C-83A1-F6EECF244321}">
                <p14:modId xmlns:p14="http://schemas.microsoft.com/office/powerpoint/2010/main" val="37993926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9" imgW="395" imgH="394" progId="TCLayout.ActiveDocument.1">
                  <p:embed/>
                </p:oleObj>
              </mc:Choice>
              <mc:Fallback>
                <p:oleObj name="Diapositive think-cell" r:id="rId9" imgW="395" imgH="394" progId="TCLayout.ActiveDocument.1">
                  <p:embed/>
                  <p:pic>
                    <p:nvPicPr>
                      <p:cNvPr id="2" name="think-cell data - do not delete" hidden="1">
                        <a:extLst>
                          <a:ext uri="{FF2B5EF4-FFF2-40B4-BE49-F238E27FC236}">
                            <a16:creationId xmlns:a16="http://schemas.microsoft.com/office/drawing/2014/main" id="{D26B59F8-62A3-D2CB-6ED9-346941B0425A}"/>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3" name="Espace réservé du numéro de diapositive 2">
            <a:extLst>
              <a:ext uri="{FF2B5EF4-FFF2-40B4-BE49-F238E27FC236}">
                <a16:creationId xmlns:a16="http://schemas.microsoft.com/office/drawing/2014/main" id="{A727DD87-D7FB-D5C1-E664-E169A4BD718C}"/>
              </a:ext>
            </a:extLst>
          </p:cNvPr>
          <p:cNvSpPr>
            <a:spLocks noGrp="1"/>
          </p:cNvSpPr>
          <p:nvPr>
            <p:ph type="sldNum" sz="quarter" idx="4"/>
          </p:nvPr>
        </p:nvSpPr>
        <p:spPr>
          <a:xfrm>
            <a:off x="160307" y="6342062"/>
            <a:ext cx="517584" cy="365125"/>
          </a:xfrm>
          <a:prstGeom prst="rect">
            <a:avLst/>
          </a:prstGeom>
        </p:spPr>
        <p:txBody>
          <a:bodyPr vert="horz" lIns="91440" tIns="45720" rIns="91440" bIns="45720" rtlCol="0" anchor="ctr"/>
          <a:lstStyle>
            <a:lvl1pPr algn="ctr">
              <a:defRPr sz="1600">
                <a:solidFill>
                  <a:schemeClr val="tx1"/>
                </a:solidFill>
                <a:latin typeface="Aptos Black" panose="020B0004020202020204" pitchFamily="34" charset="0"/>
              </a:defRPr>
            </a:lvl1pPr>
          </a:lstStyle>
          <a:p>
            <a:fld id="{E9F690C6-F4CD-4FC2-95DF-E832AE3B8C23}" type="slidenum">
              <a:rPr lang="fr-FR" smtClean="0"/>
              <a:pPr/>
              <a:t>‹N°›</a:t>
            </a:fld>
            <a:endParaRPr lang="fr-FR"/>
          </a:p>
        </p:txBody>
      </p:sp>
    </p:spTree>
    <p:extLst>
      <p:ext uri="{BB962C8B-B14F-4D97-AF65-F5344CB8AC3E}">
        <p14:creationId xmlns:p14="http://schemas.microsoft.com/office/powerpoint/2010/main" val="2894504039"/>
      </p:ext>
    </p:extLst>
  </p:cSld>
  <p:clrMap bg1="lt1" tx1="dk1" bg2="lt2" tx2="dk2" accent1="accent1" accent2="accent2" accent3="accent3" accent4="accent4" accent5="accent5" accent6="accent6" hlink="hlink" folHlink="folHlink"/>
  <p:sldLayoutIdLst>
    <p:sldLayoutId id="2147483670" r:id="rId1"/>
    <p:sldLayoutId id="2147483662" r:id="rId2"/>
    <p:sldLayoutId id="2147483650" r:id="rId3"/>
    <p:sldLayoutId id="2147483671" r:id="rId4"/>
    <p:sldLayoutId id="2147483663" r:id="rId5"/>
    <p:sldLayoutId id="2147483660" r:id="rId6"/>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image" Target="../media/image7.jfif"/><Relationship Id="rId5" Type="http://schemas.openxmlformats.org/officeDocument/2006/relationships/image" Target="../media/image6.png"/><Relationship Id="rId4" Type="http://schemas.openxmlformats.org/officeDocument/2006/relationships/image" Target="../media/image5.svg"/></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4.xml"/><Relationship Id="rId1" Type="http://schemas.openxmlformats.org/officeDocument/2006/relationships/tags" Target="../tags/tag10.xml"/><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4.xml"/><Relationship Id="rId1" Type="http://schemas.openxmlformats.org/officeDocument/2006/relationships/tags" Target="../tags/tag13.xml"/><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4.xml"/><Relationship Id="rId1" Type="http://schemas.openxmlformats.org/officeDocument/2006/relationships/tags" Target="../tags/tag14.xml"/><Relationship Id="rId5" Type="http://schemas.openxmlformats.org/officeDocument/2006/relationships/image" Target="../media/image13.png"/><Relationship Id="rId4" Type="http://schemas.openxmlformats.org/officeDocument/2006/relationships/image" Target="../media/image1.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4.xml"/><Relationship Id="rId1" Type="http://schemas.openxmlformats.org/officeDocument/2006/relationships/tags" Target="../tags/tag15.xml"/><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4.xml"/><Relationship Id="rId1" Type="http://schemas.openxmlformats.org/officeDocument/2006/relationships/tags" Target="../tags/tag16.xml"/><Relationship Id="rId4" Type="http://schemas.openxmlformats.org/officeDocument/2006/relationships/image" Target="../media/image1.emf"/></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hyperlink" Target="mailto:pierre.chavanne@totalenergies.com" TargetMode="External"/><Relationship Id="rId1" Type="http://schemas.openxmlformats.org/officeDocument/2006/relationships/slideLayout" Target="../slideLayouts/slideLayout4.xml"/><Relationship Id="rId4" Type="http://schemas.openxmlformats.org/officeDocument/2006/relationships/image" Target="../media/image15.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4.xml"/><Relationship Id="rId1" Type="http://schemas.openxmlformats.org/officeDocument/2006/relationships/tags" Target="../tags/tag3.xml"/><Relationship Id="rId5" Type="http://schemas.openxmlformats.org/officeDocument/2006/relationships/image" Target="../media/image8.png"/><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4.xml"/><Relationship Id="rId1" Type="http://schemas.openxmlformats.org/officeDocument/2006/relationships/tags" Target="../tags/tag4.xm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4.xml"/><Relationship Id="rId1" Type="http://schemas.openxmlformats.org/officeDocument/2006/relationships/tags" Target="../tags/tag5.xm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4.xml"/><Relationship Id="rId1" Type="http://schemas.openxmlformats.org/officeDocument/2006/relationships/tags" Target="../tags/tag6.xml"/><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4.xml"/><Relationship Id="rId1" Type="http://schemas.openxmlformats.org/officeDocument/2006/relationships/tags" Target="../tags/tag7.xml"/><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4.xml"/><Relationship Id="rId1" Type="http://schemas.openxmlformats.org/officeDocument/2006/relationships/tags" Target="../tags/tag8.xml"/><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4.xml"/><Relationship Id="rId1" Type="http://schemas.openxmlformats.org/officeDocument/2006/relationships/tags" Target="../tags/tag9.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 coins arrondis 13">
            <a:extLst>
              <a:ext uri="{FF2B5EF4-FFF2-40B4-BE49-F238E27FC236}">
                <a16:creationId xmlns:a16="http://schemas.microsoft.com/office/drawing/2014/main" id="{8E03C77A-7B15-59B8-C6E5-1ECA0A33A2EE}"/>
              </a:ext>
            </a:extLst>
          </p:cNvPr>
          <p:cNvSpPr/>
          <p:nvPr/>
        </p:nvSpPr>
        <p:spPr>
          <a:xfrm>
            <a:off x="8524875" y="3527670"/>
            <a:ext cx="4190999" cy="1194309"/>
          </a:xfrm>
          <a:prstGeom prst="roundRect">
            <a:avLst>
              <a:gd name="adj" fmla="val 50000"/>
            </a:avLst>
          </a:prstGeom>
          <a:solidFill>
            <a:srgbClr val="F89B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3200" dirty="0">
              <a:latin typeface="Gotham Rounded Medium" panose="02000000000000000000" pitchFamily="50" charset="0"/>
              <a:cs typeface="Poppins" panose="00000500000000000000" pitchFamily="2" charset="0"/>
            </a:endParaRPr>
          </a:p>
        </p:txBody>
      </p:sp>
      <p:sp>
        <p:nvSpPr>
          <p:cNvPr id="2" name="Titre 1">
            <a:extLst>
              <a:ext uri="{FF2B5EF4-FFF2-40B4-BE49-F238E27FC236}">
                <a16:creationId xmlns:a16="http://schemas.microsoft.com/office/drawing/2014/main" id="{280C2519-8BB3-2F7D-4555-40F725410B11}"/>
              </a:ext>
            </a:extLst>
          </p:cNvPr>
          <p:cNvSpPr>
            <a:spLocks noGrp="1"/>
          </p:cNvSpPr>
          <p:nvPr>
            <p:ph type="title"/>
          </p:nvPr>
        </p:nvSpPr>
        <p:spPr>
          <a:xfrm>
            <a:off x="534256" y="998405"/>
            <a:ext cx="11229653" cy="1562031"/>
          </a:xfrm>
        </p:spPr>
        <p:txBody>
          <a:bodyPr/>
          <a:lstStyle/>
          <a:p>
            <a:r>
              <a:rPr lang="en-US" sz="3200" dirty="0">
                <a:solidFill>
                  <a:srgbClr val="1F1F1F"/>
                </a:solidFill>
                <a:effectLst/>
                <a:ea typeface="Times New Roman" panose="02020603050405020304" pitchFamily="18" charset="0"/>
                <a:cs typeface="Times New Roman" panose="02020603050405020304" pitchFamily="18" charset="0"/>
              </a:rPr>
              <a:t>Analysis and optimization of the pricing </a:t>
            </a:r>
            <a:br>
              <a:rPr lang="en-US" sz="3200" dirty="0">
                <a:solidFill>
                  <a:srgbClr val="1F1F1F"/>
                </a:solidFill>
                <a:effectLst/>
                <a:ea typeface="Times New Roman" panose="02020603050405020304" pitchFamily="18" charset="0"/>
                <a:cs typeface="Times New Roman" panose="02020603050405020304" pitchFamily="18" charset="0"/>
              </a:rPr>
            </a:br>
            <a:r>
              <a:rPr lang="en-US" sz="3200" dirty="0">
                <a:solidFill>
                  <a:srgbClr val="1F1F1F"/>
                </a:solidFill>
                <a:effectLst/>
                <a:ea typeface="Times New Roman" panose="02020603050405020304" pitchFamily="18" charset="0"/>
                <a:cs typeface="Times New Roman" panose="02020603050405020304" pitchFamily="18" charset="0"/>
              </a:rPr>
              <a:t>of electric charging networks</a:t>
            </a:r>
            <a:br>
              <a:rPr lang="en-US" sz="3200" dirty="0">
                <a:solidFill>
                  <a:srgbClr val="1F1F1F"/>
                </a:solidFill>
                <a:effectLst/>
                <a:ea typeface="Times New Roman" panose="02020603050405020304" pitchFamily="18" charset="0"/>
                <a:cs typeface="Times New Roman" panose="02020603050405020304" pitchFamily="18" charset="0"/>
              </a:rPr>
            </a:br>
            <a:r>
              <a:rPr lang="en-US" sz="2400" i="1" dirty="0">
                <a:solidFill>
                  <a:srgbClr val="1F1F1F"/>
                </a:solidFill>
                <a:effectLst/>
                <a:ea typeface="Times New Roman" panose="02020603050405020304" pitchFamily="18" charset="0"/>
                <a:cs typeface="Times New Roman" panose="02020603050405020304" pitchFamily="18" charset="0"/>
              </a:rPr>
              <a:t>Technical presentation</a:t>
            </a:r>
            <a:br>
              <a:rPr lang="fr-FR" dirty="0"/>
            </a:br>
            <a:r>
              <a:rPr lang="fr-FR" sz="1600" i="1" dirty="0" err="1"/>
              <a:t>January</a:t>
            </a:r>
            <a:r>
              <a:rPr lang="fr-FR" sz="1600" i="1" dirty="0"/>
              <a:t> 24th 2024</a:t>
            </a:r>
            <a:endParaRPr lang="fr-FR" i="1" dirty="0"/>
          </a:p>
        </p:txBody>
      </p:sp>
      <p:sp>
        <p:nvSpPr>
          <p:cNvPr id="3" name="Espace réservé du texte 2">
            <a:extLst>
              <a:ext uri="{FF2B5EF4-FFF2-40B4-BE49-F238E27FC236}">
                <a16:creationId xmlns:a16="http://schemas.microsoft.com/office/drawing/2014/main" id="{26BAED19-711E-BEB5-8E19-FB66663AC2AB}"/>
              </a:ext>
            </a:extLst>
          </p:cNvPr>
          <p:cNvSpPr>
            <a:spLocks noGrp="1"/>
          </p:cNvSpPr>
          <p:nvPr>
            <p:ph type="body" sz="quarter" idx="10"/>
          </p:nvPr>
        </p:nvSpPr>
        <p:spPr>
          <a:xfrm>
            <a:off x="3893905" y="5859595"/>
            <a:ext cx="7962471" cy="505433"/>
          </a:xfrm>
        </p:spPr>
        <p:txBody>
          <a:bodyPr/>
          <a:lstStyle/>
          <a:p>
            <a:r>
              <a:rPr lang="fr-FR" sz="1600" dirty="0" err="1"/>
              <a:t>Bemo</a:t>
            </a:r>
            <a:r>
              <a:rPr lang="fr-FR" sz="1600" dirty="0"/>
              <a:t> - </a:t>
            </a:r>
            <a:r>
              <a:rPr lang="fr-FR" sz="1600" dirty="0" err="1"/>
              <a:t>CentraleSupelec</a:t>
            </a:r>
            <a:r>
              <a:rPr lang="fr-FR" sz="1600" dirty="0"/>
              <a:t> </a:t>
            </a:r>
            <a:r>
              <a:rPr lang="fr-FR" sz="1600" dirty="0" err="1"/>
              <a:t>Essec</a:t>
            </a:r>
            <a:r>
              <a:rPr lang="fr-FR" sz="1600" dirty="0"/>
              <a:t> </a:t>
            </a:r>
            <a:r>
              <a:rPr lang="fr-FR" sz="1600" dirty="0" err="1"/>
              <a:t>Corporate</a:t>
            </a:r>
            <a:r>
              <a:rPr lang="fr-FR" sz="1600" dirty="0"/>
              <a:t> </a:t>
            </a:r>
            <a:r>
              <a:rPr lang="fr-FR" sz="1600" dirty="0" err="1"/>
              <a:t>Research</a:t>
            </a:r>
            <a:r>
              <a:rPr lang="fr-FR" sz="1600" dirty="0"/>
              <a:t> Project</a:t>
            </a:r>
            <a:endParaRPr lang="fr-FR" i="1" dirty="0"/>
          </a:p>
        </p:txBody>
      </p:sp>
      <p:pic>
        <p:nvPicPr>
          <p:cNvPr id="4" name="Image 3" descr="Une image contenant Graphique, Police, capture d’écran, logo&#10;&#10;Description générée automatiquement">
            <a:extLst>
              <a:ext uri="{FF2B5EF4-FFF2-40B4-BE49-F238E27FC236}">
                <a16:creationId xmlns:a16="http://schemas.microsoft.com/office/drawing/2014/main" id="{DA9C6765-9134-4906-BF0A-2C0ACF8721D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0097" y="-397136"/>
            <a:ext cx="2762250" cy="1471613"/>
          </a:xfrm>
          <a:prstGeom prst="rect">
            <a:avLst/>
          </a:prstGeom>
        </p:spPr>
      </p:pic>
      <p:pic>
        <p:nvPicPr>
          <p:cNvPr id="7" name="Graphique 6">
            <a:extLst>
              <a:ext uri="{FF2B5EF4-FFF2-40B4-BE49-F238E27FC236}">
                <a16:creationId xmlns:a16="http://schemas.microsoft.com/office/drawing/2014/main" id="{CD523F58-C667-257D-E3F4-F3C76381C5B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620374" y="3693552"/>
            <a:ext cx="862543" cy="862543"/>
          </a:xfrm>
          <a:prstGeom prst="rect">
            <a:avLst/>
          </a:prstGeom>
        </p:spPr>
      </p:pic>
      <p:pic>
        <p:nvPicPr>
          <p:cNvPr id="6" name="Image 5" descr="Une image contenant symbole, logo, Graphique, Police&#10;&#10;Description générée automatiquement">
            <a:extLst>
              <a:ext uri="{FF2B5EF4-FFF2-40B4-BE49-F238E27FC236}">
                <a16:creationId xmlns:a16="http://schemas.microsoft.com/office/drawing/2014/main" id="{DE70728E-759A-571C-009A-71923920251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320245" y="3692824"/>
            <a:ext cx="667139" cy="864000"/>
          </a:xfrm>
          <a:prstGeom prst="rect">
            <a:avLst/>
          </a:prstGeom>
        </p:spPr>
      </p:pic>
      <p:pic>
        <p:nvPicPr>
          <p:cNvPr id="12" name="Image 11" descr="Une image contenant personne, texte, tenue, intérieur&#10;&#10;Description générée automatiquement">
            <a:extLst>
              <a:ext uri="{FF2B5EF4-FFF2-40B4-BE49-F238E27FC236}">
                <a16:creationId xmlns:a16="http://schemas.microsoft.com/office/drawing/2014/main" id="{D292E5C9-5A15-B9AB-9DF3-5734DB7FFA0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42348" y="2829964"/>
            <a:ext cx="2399999" cy="3600000"/>
          </a:xfrm>
          <a:prstGeom prst="rect">
            <a:avLst/>
          </a:prstGeom>
          <a:effectLst>
            <a:softEdge rad="127000"/>
          </a:effectLst>
        </p:spPr>
      </p:pic>
    </p:spTree>
    <p:extLst>
      <p:ext uri="{BB962C8B-B14F-4D97-AF65-F5344CB8AC3E}">
        <p14:creationId xmlns:p14="http://schemas.microsoft.com/office/powerpoint/2010/main" val="29643862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A691175-E3FF-7DC1-B541-0E7FF0C4A2B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95" imgH="394" progId="TCLayout.ActiveDocument.1">
                  <p:embed/>
                </p:oleObj>
              </mc:Choice>
              <mc:Fallback>
                <p:oleObj name="Diapositive think-cell" r:id="rId3" imgW="395" imgH="394" progId="TCLayout.ActiveDocument.1">
                  <p:embed/>
                  <p:pic>
                    <p:nvPicPr>
                      <p:cNvPr id="5" name="think-cell data - do not delete" hidden="1">
                        <a:extLst>
                          <a:ext uri="{FF2B5EF4-FFF2-40B4-BE49-F238E27FC236}">
                            <a16:creationId xmlns:a16="http://schemas.microsoft.com/office/drawing/2014/main" id="{0A691175-E3FF-7DC1-B541-0E7FF0C4A2B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E52B8373-62D1-544B-7A5C-41B622D6A38F}"/>
              </a:ext>
            </a:extLst>
          </p:cNvPr>
          <p:cNvSpPr>
            <a:spLocks noGrp="1"/>
          </p:cNvSpPr>
          <p:nvPr>
            <p:ph type="title"/>
          </p:nvPr>
        </p:nvSpPr>
        <p:spPr>
          <a:xfrm>
            <a:off x="874868" y="302393"/>
            <a:ext cx="9738335" cy="649922"/>
          </a:xfrm>
        </p:spPr>
        <p:txBody>
          <a:bodyPr vert="horz"/>
          <a:lstStyle/>
          <a:p>
            <a:r>
              <a:rPr lang="fr-FR" dirty="0" err="1"/>
              <a:t>Features</a:t>
            </a:r>
            <a:r>
              <a:rPr lang="fr-FR" dirty="0"/>
              <a:t> description</a:t>
            </a:r>
          </a:p>
        </p:txBody>
      </p:sp>
      <p:sp>
        <p:nvSpPr>
          <p:cNvPr id="4" name="Espace réservé du texte 3">
            <a:extLst>
              <a:ext uri="{FF2B5EF4-FFF2-40B4-BE49-F238E27FC236}">
                <a16:creationId xmlns:a16="http://schemas.microsoft.com/office/drawing/2014/main" id="{430F12B2-8A30-D6A2-6AC7-ABAE7B02E283}"/>
              </a:ext>
            </a:extLst>
          </p:cNvPr>
          <p:cNvSpPr>
            <a:spLocks noGrp="1"/>
          </p:cNvSpPr>
          <p:nvPr>
            <p:ph type="body" sz="quarter" idx="16"/>
          </p:nvPr>
        </p:nvSpPr>
        <p:spPr>
          <a:xfrm>
            <a:off x="677891" y="952314"/>
            <a:ext cx="11425066" cy="4639737"/>
          </a:xfrm>
        </p:spPr>
        <p:txBody>
          <a:bodyPr/>
          <a:lstStyle/>
          <a:p>
            <a:pPr marL="285750" indent="-285750">
              <a:buFont typeface="Arial" panose="020B0604020202020204" pitchFamily="34" charset="0"/>
              <a:buChar char="•"/>
            </a:pPr>
            <a:r>
              <a:rPr lang="fr-FR" sz="1200" dirty="0" err="1"/>
              <a:t>Same</a:t>
            </a:r>
            <a:r>
              <a:rPr lang="fr-FR" sz="1200" dirty="0"/>
              <a:t> </a:t>
            </a:r>
            <a:r>
              <a:rPr lang="fr-FR" sz="1200" dirty="0" err="1"/>
              <a:t>parameters</a:t>
            </a:r>
            <a:r>
              <a:rPr lang="fr-FR" sz="1200" dirty="0"/>
              <a:t> as </a:t>
            </a:r>
            <a:r>
              <a:rPr lang="fr-FR" sz="1200" dirty="0" err="1"/>
              <a:t>those</a:t>
            </a:r>
            <a:r>
              <a:rPr lang="fr-FR" sz="1200" dirty="0"/>
              <a:t> </a:t>
            </a:r>
            <a:r>
              <a:rPr lang="fr-FR" sz="1200" dirty="0" err="1"/>
              <a:t>from</a:t>
            </a:r>
            <a:r>
              <a:rPr lang="fr-FR" sz="1200" dirty="0"/>
              <a:t> Item 1 in </a:t>
            </a:r>
            <a:r>
              <a:rPr lang="fr-FR" sz="1200" dirty="0" err="1"/>
              <a:t>general</a:t>
            </a:r>
            <a:r>
              <a:rPr lang="fr-FR" sz="1200" dirty="0"/>
              <a:t>. </a:t>
            </a:r>
            <a:r>
              <a:rPr lang="fr-FR" sz="1200" dirty="0" err="1"/>
              <a:t>Further</a:t>
            </a:r>
            <a:r>
              <a:rPr lang="fr-FR" sz="1200" dirty="0"/>
              <a:t> information are </a:t>
            </a:r>
            <a:r>
              <a:rPr lang="fr-FR" sz="1200" dirty="0" err="1"/>
              <a:t>given</a:t>
            </a:r>
            <a:r>
              <a:rPr lang="fr-FR" sz="1200" dirty="0"/>
              <a:t> </a:t>
            </a:r>
            <a:r>
              <a:rPr lang="fr-FR" sz="1200" dirty="0" err="1"/>
              <a:t>below</a:t>
            </a:r>
            <a:r>
              <a:rPr lang="fr-FR" sz="1200" dirty="0"/>
              <a:t> : </a:t>
            </a:r>
          </a:p>
          <a:p>
            <a:pPr marL="285750" indent="-285750">
              <a:buFont typeface="Arial" panose="020B0604020202020204" pitchFamily="34" charset="0"/>
              <a:buChar char="•"/>
            </a:pPr>
            <a:r>
              <a:rPr lang="fr-FR" sz="1200" dirty="0"/>
              <a:t>Price formula :	</a:t>
            </a:r>
          </a:p>
          <a:p>
            <a:pPr marL="742950" lvl="1" indent="-285750">
              <a:buFont typeface="Arial" panose="020B0604020202020204" pitchFamily="34" charset="0"/>
              <a:buChar char="•"/>
            </a:pPr>
            <a:r>
              <a:rPr lang="fr-FR" sz="1200" dirty="0" err="1">
                <a:highlight>
                  <a:srgbClr val="00FF00"/>
                </a:highlight>
              </a:rPr>
              <a:t>Connector_Id</a:t>
            </a:r>
            <a:r>
              <a:rPr lang="fr-FR" sz="1200" dirty="0"/>
              <a:t> : ID of an EVSE </a:t>
            </a:r>
            <a:r>
              <a:rPr lang="fr-FR" sz="1200" dirty="0" err="1"/>
              <a:t>connector</a:t>
            </a:r>
            <a:r>
              <a:rPr lang="fr-FR" sz="1200" dirty="0"/>
              <a:t>. An EVSE can </a:t>
            </a:r>
            <a:r>
              <a:rPr lang="fr-FR" sz="1200" dirty="0" err="1"/>
              <a:t>include</a:t>
            </a:r>
            <a:r>
              <a:rPr lang="fr-FR" sz="1200" dirty="0"/>
              <a:t> on or more </a:t>
            </a:r>
            <a:r>
              <a:rPr lang="fr-FR" sz="1200" dirty="0" err="1"/>
              <a:t>connectors</a:t>
            </a:r>
            <a:r>
              <a:rPr lang="fr-FR" sz="1200" dirty="0"/>
              <a:t>. EVSE and </a:t>
            </a:r>
            <a:r>
              <a:rPr lang="fr-FR" sz="1200" dirty="0" err="1"/>
              <a:t>Connector</a:t>
            </a:r>
            <a:r>
              <a:rPr lang="fr-FR" sz="1200" dirty="0"/>
              <a:t> ID are unique. </a:t>
            </a:r>
          </a:p>
          <a:p>
            <a:pPr marL="742950" lvl="1" indent="-285750">
              <a:buFont typeface="Arial" panose="020B0604020202020204" pitchFamily="34" charset="0"/>
              <a:buChar char="•"/>
            </a:pPr>
            <a:r>
              <a:rPr lang="fr-FR" sz="1200" dirty="0"/>
              <a:t>Formula :  body of the </a:t>
            </a:r>
            <a:r>
              <a:rPr lang="fr-FR" sz="1200" dirty="0" err="1"/>
              <a:t>Json</a:t>
            </a:r>
            <a:r>
              <a:rPr lang="fr-FR" sz="1200" dirty="0"/>
              <a:t> </a:t>
            </a:r>
            <a:r>
              <a:rPr lang="fr-FR" sz="1200" dirty="0" err="1"/>
              <a:t>request</a:t>
            </a:r>
            <a:r>
              <a:rPr lang="fr-FR" sz="1200" dirty="0"/>
              <a:t> in Python.</a:t>
            </a:r>
          </a:p>
          <a:p>
            <a:pPr marL="742950" lvl="1" indent="-285750">
              <a:buFont typeface="Arial" panose="020B0604020202020204" pitchFamily="34" charset="0"/>
              <a:buChar char="•"/>
            </a:pPr>
            <a:r>
              <a:rPr lang="fr-FR" sz="1200" dirty="0" err="1"/>
              <a:t>Country_Code</a:t>
            </a:r>
            <a:r>
              <a:rPr lang="fr-FR" sz="1200" dirty="0"/>
              <a:t> : country </a:t>
            </a:r>
            <a:r>
              <a:rPr lang="fr-FR" sz="1200" dirty="0" err="1"/>
              <a:t>where</a:t>
            </a:r>
            <a:r>
              <a:rPr lang="fr-FR" sz="1200" dirty="0"/>
              <a:t> the </a:t>
            </a:r>
            <a:r>
              <a:rPr lang="fr-FR" sz="1200" dirty="0" err="1"/>
              <a:t>tariff</a:t>
            </a:r>
            <a:r>
              <a:rPr lang="fr-FR" sz="1200" dirty="0"/>
              <a:t> formula </a:t>
            </a:r>
            <a:r>
              <a:rPr lang="fr-FR" sz="1200" dirty="0" err="1"/>
              <a:t>is</a:t>
            </a:r>
            <a:r>
              <a:rPr lang="fr-FR" sz="1200" dirty="0"/>
              <a:t> </a:t>
            </a:r>
            <a:r>
              <a:rPr lang="fr-FR" sz="1200" dirty="0" err="1"/>
              <a:t>valid</a:t>
            </a:r>
            <a:r>
              <a:rPr lang="fr-FR" sz="1200" dirty="0"/>
              <a:t>.</a:t>
            </a:r>
          </a:p>
          <a:p>
            <a:pPr marL="742950" lvl="1" indent="-285750">
              <a:buFont typeface="Arial" panose="020B0604020202020204" pitchFamily="34" charset="0"/>
              <a:buChar char="•"/>
            </a:pPr>
            <a:r>
              <a:rPr lang="fr-FR" sz="1200" dirty="0" err="1"/>
              <a:t>Creation_Date</a:t>
            </a:r>
            <a:r>
              <a:rPr lang="fr-FR" sz="1200" dirty="0"/>
              <a:t> : approximative date </a:t>
            </a:r>
            <a:r>
              <a:rPr lang="fr-FR" sz="1200" dirty="0" err="1"/>
              <a:t>when</a:t>
            </a:r>
            <a:r>
              <a:rPr lang="fr-FR" sz="1200" dirty="0"/>
              <a:t> the formula </a:t>
            </a:r>
            <a:r>
              <a:rPr lang="fr-FR" sz="1200" dirty="0" err="1"/>
              <a:t>was</a:t>
            </a:r>
            <a:r>
              <a:rPr lang="fr-FR" sz="1200" dirty="0"/>
              <a:t> </a:t>
            </a:r>
            <a:r>
              <a:rPr lang="fr-FR" sz="1200" dirty="0" err="1"/>
              <a:t>created</a:t>
            </a:r>
            <a:r>
              <a:rPr lang="fr-FR" sz="1200" dirty="0"/>
              <a:t> (</a:t>
            </a:r>
            <a:r>
              <a:rPr lang="fr-FR" sz="1200" dirty="0" err="1"/>
              <a:t>considered</a:t>
            </a:r>
            <a:r>
              <a:rPr lang="fr-FR" sz="1200" dirty="0"/>
              <a:t> UTC as </a:t>
            </a:r>
            <a:r>
              <a:rPr lang="fr-FR" sz="1200" dirty="0" err="1"/>
              <a:t>other</a:t>
            </a:r>
            <a:r>
              <a:rPr lang="fr-FR" sz="1200" dirty="0"/>
              <a:t> dates in Transactions file, no conversion </a:t>
            </a:r>
            <a:r>
              <a:rPr lang="fr-FR" sz="1200" dirty="0" err="1"/>
              <a:t>needed</a:t>
            </a:r>
            <a:r>
              <a:rPr lang="fr-FR" sz="1200" dirty="0"/>
              <a:t>).</a:t>
            </a:r>
          </a:p>
          <a:p>
            <a:pPr marL="742950" lvl="1" indent="-285750">
              <a:buFont typeface="Arial" panose="020B0604020202020204" pitchFamily="34" charset="0"/>
              <a:buChar char="•"/>
            </a:pPr>
            <a:r>
              <a:rPr lang="fr-FR" sz="1200" dirty="0" err="1"/>
              <a:t>Valid_From</a:t>
            </a:r>
            <a:r>
              <a:rPr lang="fr-FR" sz="1200" dirty="0"/>
              <a:t> : start date </a:t>
            </a:r>
            <a:r>
              <a:rPr lang="fr-FR" sz="1200" dirty="0" err="1"/>
              <a:t>when</a:t>
            </a:r>
            <a:r>
              <a:rPr lang="fr-FR" sz="1200" dirty="0"/>
              <a:t> the </a:t>
            </a:r>
            <a:r>
              <a:rPr lang="fr-FR" sz="1200" dirty="0" err="1"/>
              <a:t>tariff</a:t>
            </a:r>
            <a:r>
              <a:rPr lang="fr-FR" sz="1200" dirty="0"/>
              <a:t> formula </a:t>
            </a:r>
            <a:r>
              <a:rPr lang="fr-FR" sz="1200" dirty="0" err="1"/>
              <a:t>is</a:t>
            </a:r>
            <a:r>
              <a:rPr lang="fr-FR" sz="1200" dirty="0"/>
              <a:t> </a:t>
            </a:r>
            <a:r>
              <a:rPr lang="fr-FR" sz="1200" dirty="0" err="1"/>
              <a:t>valid</a:t>
            </a:r>
            <a:r>
              <a:rPr lang="fr-FR" sz="1200" dirty="0"/>
              <a:t> (</a:t>
            </a:r>
            <a:r>
              <a:rPr lang="fr-FR" sz="1200" dirty="0" err="1"/>
              <a:t>considered</a:t>
            </a:r>
            <a:r>
              <a:rPr lang="fr-FR" sz="1200" dirty="0"/>
              <a:t> UTC as </a:t>
            </a:r>
            <a:r>
              <a:rPr lang="fr-FR" sz="1200" dirty="0" err="1"/>
              <a:t>other</a:t>
            </a:r>
            <a:r>
              <a:rPr lang="fr-FR" sz="1200" dirty="0"/>
              <a:t> dates in Transactions file, no conversion </a:t>
            </a:r>
            <a:r>
              <a:rPr lang="fr-FR" sz="1200" dirty="0" err="1"/>
              <a:t>needed</a:t>
            </a:r>
            <a:r>
              <a:rPr lang="fr-FR" sz="1200" dirty="0"/>
              <a:t>).</a:t>
            </a:r>
          </a:p>
          <a:p>
            <a:pPr marL="742950" lvl="1" indent="-285750">
              <a:buFont typeface="Arial" panose="020B0604020202020204" pitchFamily="34" charset="0"/>
              <a:buChar char="•"/>
            </a:pPr>
            <a:r>
              <a:rPr lang="fr-FR" sz="1200" dirty="0" err="1"/>
              <a:t>Valid_To</a:t>
            </a:r>
            <a:r>
              <a:rPr lang="fr-FR" sz="1200" dirty="0"/>
              <a:t> : end date </a:t>
            </a:r>
            <a:r>
              <a:rPr lang="fr-FR" sz="1200" dirty="0" err="1"/>
              <a:t>until</a:t>
            </a:r>
            <a:r>
              <a:rPr lang="fr-FR" sz="1200" dirty="0"/>
              <a:t> </a:t>
            </a:r>
            <a:r>
              <a:rPr lang="fr-FR" sz="1200" dirty="0" err="1"/>
              <a:t>when</a:t>
            </a:r>
            <a:r>
              <a:rPr lang="fr-FR" sz="1200" dirty="0"/>
              <a:t> the </a:t>
            </a:r>
            <a:r>
              <a:rPr lang="fr-FR" sz="1200" dirty="0" err="1"/>
              <a:t>tariff</a:t>
            </a:r>
            <a:r>
              <a:rPr lang="fr-FR" sz="1200" dirty="0"/>
              <a:t> formula </a:t>
            </a:r>
            <a:r>
              <a:rPr lang="fr-FR" sz="1200" dirty="0" err="1"/>
              <a:t>is</a:t>
            </a:r>
            <a:r>
              <a:rPr lang="fr-FR" sz="1200" dirty="0"/>
              <a:t> </a:t>
            </a:r>
            <a:r>
              <a:rPr lang="fr-FR" sz="1200" dirty="0" err="1"/>
              <a:t>valid</a:t>
            </a:r>
            <a:r>
              <a:rPr lang="fr-FR" sz="1200" dirty="0"/>
              <a:t> (</a:t>
            </a:r>
            <a:r>
              <a:rPr lang="fr-FR" sz="1200" dirty="0" err="1"/>
              <a:t>considered</a:t>
            </a:r>
            <a:r>
              <a:rPr lang="fr-FR" sz="1200" dirty="0"/>
              <a:t> UTC as </a:t>
            </a:r>
            <a:r>
              <a:rPr lang="fr-FR" sz="1200" dirty="0" err="1"/>
              <a:t>other</a:t>
            </a:r>
            <a:r>
              <a:rPr lang="fr-FR" sz="1200" dirty="0"/>
              <a:t> dates in Transactions file, no conversion </a:t>
            </a:r>
            <a:r>
              <a:rPr lang="fr-FR" sz="1200" dirty="0" err="1"/>
              <a:t>needed</a:t>
            </a:r>
            <a:r>
              <a:rPr lang="fr-FR" sz="1200" dirty="0"/>
              <a:t>).</a:t>
            </a:r>
          </a:p>
          <a:p>
            <a:pPr marL="742950" lvl="1" indent="-285750">
              <a:buFont typeface="Arial" panose="020B0604020202020204" pitchFamily="34" charset="0"/>
              <a:buChar char="•"/>
            </a:pPr>
            <a:r>
              <a:rPr lang="fr-FR" sz="1200" dirty="0"/>
              <a:t>Id : </a:t>
            </a:r>
            <a:r>
              <a:rPr lang="fr-FR" sz="1200" dirty="0" err="1"/>
              <a:t>tariff</a:t>
            </a:r>
            <a:r>
              <a:rPr lang="fr-FR" sz="1200" dirty="0"/>
              <a:t> formula Id.</a:t>
            </a:r>
          </a:p>
          <a:p>
            <a:pPr marL="285750" indent="-285750">
              <a:buFont typeface="Arial" panose="020B0604020202020204" pitchFamily="34" charset="0"/>
              <a:buChar char="•"/>
            </a:pPr>
            <a:r>
              <a:rPr lang="fr-FR" sz="1200" dirty="0"/>
              <a:t>Transactions : </a:t>
            </a:r>
          </a:p>
          <a:p>
            <a:pPr marL="742950" lvl="1" indent="-285750">
              <a:buFont typeface="Arial" panose="020B0604020202020204" pitchFamily="34" charset="0"/>
              <a:buChar char="•"/>
            </a:pPr>
            <a:r>
              <a:rPr lang="fr-FR" sz="1200" dirty="0"/>
              <a:t>The transactions file has been </a:t>
            </a:r>
            <a:r>
              <a:rPr lang="fr-FR" sz="1200" dirty="0" err="1"/>
              <a:t>filtered</a:t>
            </a:r>
            <a:r>
              <a:rPr lang="fr-FR" sz="1200" dirty="0"/>
              <a:t> </a:t>
            </a:r>
            <a:r>
              <a:rPr lang="fr-FR" sz="1200" dirty="0" err="1"/>
              <a:t>with</a:t>
            </a:r>
            <a:r>
              <a:rPr lang="fr-FR" sz="1200" dirty="0"/>
              <a:t> </a:t>
            </a:r>
            <a:r>
              <a:rPr lang="fr-FR" sz="1200" dirty="0" err="1"/>
              <a:t>Stat_tag</a:t>
            </a:r>
            <a:r>
              <a:rPr lang="fr-FR" sz="1200" dirty="0"/>
              <a:t>=Main.</a:t>
            </a:r>
          </a:p>
          <a:p>
            <a:pPr marL="742950" lvl="1" indent="-285750">
              <a:buFont typeface="Arial" panose="020B0604020202020204" pitchFamily="34" charset="0"/>
              <a:buChar char="•"/>
            </a:pPr>
            <a:r>
              <a:rPr lang="fr-FR" sz="1200" dirty="0" err="1"/>
              <a:t>Start_Date</a:t>
            </a:r>
            <a:r>
              <a:rPr lang="fr-FR" sz="1200" dirty="0"/>
              <a:t> : session start date</a:t>
            </a:r>
          </a:p>
          <a:p>
            <a:pPr marL="742950" lvl="1" indent="-285750">
              <a:buFont typeface="Arial" panose="020B0604020202020204" pitchFamily="34" charset="0"/>
              <a:buChar char="•"/>
            </a:pPr>
            <a:r>
              <a:rPr lang="fr-FR" sz="1200" dirty="0" err="1"/>
              <a:t>End_Date</a:t>
            </a:r>
            <a:r>
              <a:rPr lang="fr-FR" sz="1200" dirty="0"/>
              <a:t> : session end date</a:t>
            </a:r>
          </a:p>
          <a:p>
            <a:pPr marL="742950" lvl="1" indent="-285750">
              <a:buFont typeface="Arial" panose="020B0604020202020204" pitchFamily="34" charset="0"/>
              <a:buChar char="•"/>
            </a:pPr>
            <a:r>
              <a:rPr lang="fr-FR" sz="1200" dirty="0" err="1"/>
              <a:t>EVSE_Id</a:t>
            </a:r>
            <a:r>
              <a:rPr lang="fr-FR" sz="1200" dirty="0"/>
              <a:t> : ID of the EVSE </a:t>
            </a:r>
            <a:r>
              <a:rPr lang="fr-FR" sz="1200" dirty="0" err="1"/>
              <a:t>where</a:t>
            </a:r>
            <a:r>
              <a:rPr lang="fr-FR" sz="1200" dirty="0"/>
              <a:t> the </a:t>
            </a:r>
            <a:r>
              <a:rPr lang="fr-FR" sz="1200" dirty="0" err="1"/>
              <a:t>charging</a:t>
            </a:r>
            <a:r>
              <a:rPr lang="fr-FR" sz="1200" dirty="0"/>
              <a:t> session </a:t>
            </a:r>
            <a:r>
              <a:rPr lang="fr-FR" sz="1200" dirty="0" err="1"/>
              <a:t>was</a:t>
            </a:r>
            <a:r>
              <a:rPr lang="fr-FR" sz="1200" dirty="0"/>
              <a:t> </a:t>
            </a:r>
            <a:r>
              <a:rPr lang="fr-FR" sz="1200" dirty="0" err="1"/>
              <a:t>done</a:t>
            </a:r>
            <a:r>
              <a:rPr lang="fr-FR" sz="1200" dirty="0"/>
              <a:t>.</a:t>
            </a:r>
          </a:p>
          <a:p>
            <a:pPr marL="742950" lvl="1" indent="-285750">
              <a:buFont typeface="Arial" panose="020B0604020202020204" pitchFamily="34" charset="0"/>
              <a:buChar char="•"/>
            </a:pPr>
            <a:r>
              <a:rPr lang="fr-FR" sz="1200" dirty="0" err="1">
                <a:highlight>
                  <a:srgbClr val="00FF00"/>
                </a:highlight>
              </a:rPr>
              <a:t>Connector_Id</a:t>
            </a:r>
            <a:r>
              <a:rPr lang="fr-FR" sz="1200" dirty="0"/>
              <a:t> : ID of an EVSE </a:t>
            </a:r>
            <a:r>
              <a:rPr lang="fr-FR" sz="1200" dirty="0" err="1"/>
              <a:t>connector</a:t>
            </a:r>
            <a:r>
              <a:rPr lang="fr-FR" sz="1200" dirty="0"/>
              <a:t>. An EVSE can </a:t>
            </a:r>
            <a:r>
              <a:rPr lang="fr-FR" sz="1200" dirty="0" err="1"/>
              <a:t>include</a:t>
            </a:r>
            <a:r>
              <a:rPr lang="fr-FR" sz="1200" dirty="0"/>
              <a:t> on or more </a:t>
            </a:r>
            <a:r>
              <a:rPr lang="fr-FR" sz="1200" dirty="0" err="1"/>
              <a:t>connectors</a:t>
            </a:r>
            <a:r>
              <a:rPr lang="fr-FR" sz="1200" dirty="0"/>
              <a:t>. EVSE and </a:t>
            </a:r>
            <a:r>
              <a:rPr lang="fr-FR" sz="1200" dirty="0" err="1"/>
              <a:t>Connector</a:t>
            </a:r>
            <a:r>
              <a:rPr lang="fr-FR" sz="1200" dirty="0"/>
              <a:t> ID are unique. </a:t>
            </a:r>
          </a:p>
          <a:p>
            <a:pPr marL="742950" lvl="1" indent="-285750">
              <a:buFont typeface="Arial" panose="020B0604020202020204" pitchFamily="34" charset="0"/>
              <a:buChar char="•"/>
            </a:pPr>
            <a:r>
              <a:rPr lang="fr-FR" sz="1200" dirty="0" err="1"/>
              <a:t>Currency_Code</a:t>
            </a:r>
            <a:r>
              <a:rPr lang="fr-FR" sz="1200" dirty="0"/>
              <a:t> : </a:t>
            </a:r>
            <a:r>
              <a:rPr lang="fr-FR" sz="1200" dirty="0" err="1"/>
              <a:t>currency</a:t>
            </a:r>
            <a:r>
              <a:rPr lang="fr-FR" sz="1200" dirty="0"/>
              <a:t> code of the transaction </a:t>
            </a:r>
            <a:r>
              <a:rPr lang="fr-FR" sz="1200" dirty="0" err="1"/>
              <a:t>amount</a:t>
            </a:r>
            <a:r>
              <a:rPr lang="fr-FR" sz="1200" dirty="0"/>
              <a:t>.</a:t>
            </a:r>
          </a:p>
          <a:p>
            <a:pPr marL="742950" lvl="1" indent="-285750">
              <a:buFont typeface="Arial" panose="020B0604020202020204" pitchFamily="34" charset="0"/>
              <a:buChar char="•"/>
            </a:pPr>
            <a:r>
              <a:rPr lang="fr-FR" sz="1200" dirty="0" err="1"/>
              <a:t>ChargingPeriodCollection_Body</a:t>
            </a:r>
            <a:r>
              <a:rPr lang="fr-FR" sz="1200" dirty="0"/>
              <a:t> :</a:t>
            </a:r>
            <a:r>
              <a:rPr lang="fr-FR" sz="1200" dirty="0" err="1"/>
              <a:t>charging</a:t>
            </a:r>
            <a:r>
              <a:rPr lang="fr-FR" sz="1200" dirty="0"/>
              <a:t> </a:t>
            </a:r>
            <a:r>
              <a:rPr lang="fr-FR" sz="1200" dirty="0" err="1"/>
              <a:t>period</a:t>
            </a:r>
            <a:r>
              <a:rPr lang="fr-FR" sz="1200" dirty="0"/>
              <a:t> </a:t>
            </a:r>
            <a:r>
              <a:rPr lang="fr-FR" sz="1200" dirty="0" err="1"/>
              <a:t>elements</a:t>
            </a:r>
            <a:r>
              <a:rPr lang="fr-FR" sz="1200" dirty="0"/>
              <a:t> in a </a:t>
            </a:r>
            <a:r>
              <a:rPr lang="fr-FR" sz="1200" dirty="0" err="1"/>
              <a:t>dictionary</a:t>
            </a:r>
            <a:r>
              <a:rPr lang="fr-FR" sz="1200" dirty="0"/>
              <a:t> </a:t>
            </a:r>
          </a:p>
          <a:p>
            <a:pPr marL="742950" lvl="1" indent="-285750">
              <a:buFont typeface="Arial" panose="020B0604020202020204" pitchFamily="34" charset="0"/>
              <a:buChar char="•"/>
            </a:pPr>
            <a:endParaRPr lang="fr-FR" sz="1200" dirty="0">
              <a:ea typeface="Calibri" panose="020F0502020204030204" pitchFamily="34" charset="0"/>
            </a:endParaRPr>
          </a:p>
          <a:p>
            <a:pPr marL="285750" indent="-285750">
              <a:buFont typeface="Arial" panose="020B0604020202020204" pitchFamily="34" charset="0"/>
              <a:buChar char="•"/>
            </a:pPr>
            <a:r>
              <a:rPr lang="fr-FR" sz="1200" dirty="0">
                <a:highlight>
                  <a:srgbClr val="00FF00"/>
                </a:highlight>
                <a:ea typeface="Calibri" panose="020F0502020204030204" pitchFamily="34" charset="0"/>
              </a:rPr>
              <a:t>Common </a:t>
            </a:r>
            <a:r>
              <a:rPr lang="fr-FR" sz="1200" dirty="0" err="1">
                <a:highlight>
                  <a:srgbClr val="00FF00"/>
                </a:highlight>
                <a:ea typeface="Calibri" panose="020F0502020204030204" pitchFamily="34" charset="0"/>
              </a:rPr>
              <a:t>parameters</a:t>
            </a:r>
            <a:r>
              <a:rPr lang="fr-FR" sz="1200" dirty="0">
                <a:highlight>
                  <a:srgbClr val="00FF00"/>
                </a:highlight>
                <a:ea typeface="Calibri" panose="020F0502020204030204" pitchFamily="34" charset="0"/>
              </a:rPr>
              <a:t> to </a:t>
            </a:r>
            <a:r>
              <a:rPr lang="fr-FR" sz="1200" dirty="0" err="1">
                <a:highlight>
                  <a:srgbClr val="00FF00"/>
                </a:highlight>
                <a:ea typeface="Calibri" panose="020F0502020204030204" pitchFamily="34" charset="0"/>
              </a:rPr>
              <a:t>perform</a:t>
            </a:r>
            <a:r>
              <a:rPr lang="fr-FR" sz="1200" dirty="0">
                <a:highlight>
                  <a:srgbClr val="00FF00"/>
                </a:highlight>
                <a:ea typeface="Calibri" panose="020F0502020204030204" pitchFamily="34" charset="0"/>
              </a:rPr>
              <a:t> a merge </a:t>
            </a:r>
            <a:r>
              <a:rPr lang="fr-FR" sz="1200" dirty="0" err="1">
                <a:highlight>
                  <a:srgbClr val="00FF00"/>
                </a:highlight>
                <a:ea typeface="Calibri" panose="020F0502020204030204" pitchFamily="34" charset="0"/>
              </a:rPr>
              <a:t>between</a:t>
            </a:r>
            <a:r>
              <a:rPr lang="fr-FR" sz="1200" dirty="0">
                <a:highlight>
                  <a:srgbClr val="00FF00"/>
                </a:highlight>
                <a:ea typeface="Calibri" panose="020F0502020204030204" pitchFamily="34" charset="0"/>
              </a:rPr>
              <a:t> </a:t>
            </a:r>
            <a:r>
              <a:rPr lang="fr-FR" sz="1200" dirty="0" err="1">
                <a:highlight>
                  <a:srgbClr val="00FF00"/>
                </a:highlight>
                <a:ea typeface="Calibri" panose="020F0502020204030204" pitchFamily="34" charset="0"/>
              </a:rPr>
              <a:t>datasets</a:t>
            </a:r>
            <a:r>
              <a:rPr lang="fr-FR" sz="1200" dirty="0">
                <a:highlight>
                  <a:srgbClr val="00FF00"/>
                </a:highlight>
                <a:ea typeface="Calibri" panose="020F0502020204030204" pitchFamily="34" charset="0"/>
              </a:rPr>
              <a:t>.</a:t>
            </a:r>
          </a:p>
          <a:p>
            <a:pPr marL="285750" indent="-285750">
              <a:buFont typeface="Arial" panose="020B0604020202020204" pitchFamily="34" charset="0"/>
              <a:buChar char="•"/>
            </a:pPr>
            <a:r>
              <a:rPr lang="fr-FR" sz="1200" dirty="0">
                <a:highlight>
                  <a:srgbClr val="FF0000"/>
                </a:highlight>
                <a:ea typeface="Calibri" panose="020F0502020204030204" pitchFamily="34" charset="0"/>
              </a:rPr>
              <a:t>Caution : a </a:t>
            </a:r>
            <a:r>
              <a:rPr lang="fr-FR" sz="1200" dirty="0" err="1">
                <a:highlight>
                  <a:srgbClr val="FF0000"/>
                </a:highlight>
                <a:ea typeface="Calibri" panose="020F0502020204030204" pitchFamily="34" charset="0"/>
              </a:rPr>
              <a:t>price</a:t>
            </a:r>
            <a:r>
              <a:rPr lang="fr-FR" sz="1200" dirty="0">
                <a:highlight>
                  <a:srgbClr val="FF0000"/>
                </a:highlight>
                <a:ea typeface="Calibri" panose="020F0502020204030204" pitchFamily="34" charset="0"/>
              </a:rPr>
              <a:t> formula </a:t>
            </a:r>
            <a:r>
              <a:rPr lang="fr-FR" sz="1200" dirty="0" err="1">
                <a:highlight>
                  <a:srgbClr val="FF0000"/>
                </a:highlight>
                <a:ea typeface="Calibri" panose="020F0502020204030204" pitchFamily="34" charset="0"/>
              </a:rPr>
              <a:t>is</a:t>
            </a:r>
            <a:r>
              <a:rPr lang="fr-FR" sz="1200" dirty="0">
                <a:highlight>
                  <a:srgbClr val="FF0000"/>
                </a:highlight>
                <a:ea typeface="Calibri" panose="020F0502020204030204" pitchFamily="34" charset="0"/>
              </a:rPr>
              <a:t> </a:t>
            </a:r>
            <a:r>
              <a:rPr lang="fr-FR" sz="1200" dirty="0" err="1">
                <a:highlight>
                  <a:srgbClr val="FF0000"/>
                </a:highlight>
                <a:ea typeface="Calibri" panose="020F0502020204030204" pitchFamily="34" charset="0"/>
              </a:rPr>
              <a:t>valid</a:t>
            </a:r>
            <a:r>
              <a:rPr lang="fr-FR" sz="1200" dirty="0">
                <a:highlight>
                  <a:srgbClr val="FF0000"/>
                </a:highlight>
                <a:ea typeface="Calibri" panose="020F0502020204030204" pitchFamily="34" charset="0"/>
              </a:rPr>
              <a:t> for a </a:t>
            </a:r>
            <a:r>
              <a:rPr lang="fr-FR" sz="1200" dirty="0" err="1">
                <a:highlight>
                  <a:srgbClr val="FF0000"/>
                </a:highlight>
                <a:ea typeface="Calibri" panose="020F0502020204030204" pitchFamily="34" charset="0"/>
              </a:rPr>
              <a:t>specific</a:t>
            </a:r>
            <a:r>
              <a:rPr lang="fr-FR" sz="1200" dirty="0">
                <a:highlight>
                  <a:srgbClr val="FF0000"/>
                </a:highlight>
                <a:ea typeface="Calibri" panose="020F0502020204030204" pitchFamily="34" charset="0"/>
              </a:rPr>
              <a:t> </a:t>
            </a:r>
            <a:r>
              <a:rPr lang="fr-FR" sz="1200" dirty="0" err="1">
                <a:highlight>
                  <a:srgbClr val="FF0000"/>
                </a:highlight>
                <a:ea typeface="Calibri" panose="020F0502020204030204" pitchFamily="34" charset="0"/>
              </a:rPr>
              <a:t>Connector</a:t>
            </a:r>
            <a:r>
              <a:rPr lang="fr-FR" sz="1200" dirty="0">
                <a:highlight>
                  <a:srgbClr val="FF0000"/>
                </a:highlight>
                <a:ea typeface="Calibri" panose="020F0502020204030204" pitchFamily="34" charset="0"/>
              </a:rPr>
              <a:t> Id </a:t>
            </a:r>
            <a:r>
              <a:rPr lang="fr-FR" sz="1200" dirty="0" err="1">
                <a:highlight>
                  <a:srgbClr val="FF0000"/>
                </a:highlight>
                <a:ea typeface="Calibri" panose="020F0502020204030204" pitchFamily="34" charset="0"/>
              </a:rPr>
              <a:t>provided</a:t>
            </a:r>
            <a:r>
              <a:rPr lang="fr-FR" sz="1200" dirty="0">
                <a:highlight>
                  <a:srgbClr val="FF0000"/>
                </a:highlight>
                <a:ea typeface="Calibri" panose="020F0502020204030204" pitchFamily="34" charset="0"/>
              </a:rPr>
              <a:t> </a:t>
            </a:r>
            <a:r>
              <a:rPr lang="fr-FR" sz="1200" dirty="0" err="1">
                <a:highlight>
                  <a:srgbClr val="FF0000"/>
                </a:highlight>
                <a:ea typeface="Calibri" panose="020F0502020204030204" pitchFamily="34" charset="0"/>
              </a:rPr>
              <a:t>that</a:t>
            </a:r>
            <a:r>
              <a:rPr lang="fr-FR" sz="1200" dirty="0">
                <a:highlight>
                  <a:srgbClr val="FF0000"/>
                </a:highlight>
                <a:ea typeface="Calibri" panose="020F0502020204030204" pitchFamily="34" charset="0"/>
              </a:rPr>
              <a:t> </a:t>
            </a:r>
            <a:r>
              <a:rPr lang="fr-FR" sz="1200" dirty="0" err="1">
                <a:highlight>
                  <a:srgbClr val="FF0000"/>
                </a:highlight>
                <a:ea typeface="Calibri" panose="020F0502020204030204" pitchFamily="34" charset="0"/>
              </a:rPr>
              <a:t>its</a:t>
            </a:r>
            <a:r>
              <a:rPr lang="fr-FR" sz="1200" dirty="0">
                <a:highlight>
                  <a:srgbClr val="FF0000"/>
                </a:highlight>
                <a:ea typeface="Calibri" panose="020F0502020204030204" pitchFamily="34" charset="0"/>
              </a:rPr>
              <a:t> </a:t>
            </a:r>
            <a:r>
              <a:rPr lang="fr-FR" sz="1200" dirty="0" err="1">
                <a:highlight>
                  <a:srgbClr val="FF0000"/>
                </a:highlight>
                <a:ea typeface="Calibri" panose="020F0502020204030204" pitchFamily="34" charset="0"/>
              </a:rPr>
              <a:t>valid</a:t>
            </a:r>
            <a:r>
              <a:rPr lang="fr-FR" sz="1200" dirty="0">
                <a:highlight>
                  <a:srgbClr val="FF0000"/>
                </a:highlight>
                <a:ea typeface="Calibri" panose="020F0502020204030204" pitchFamily="34" charset="0"/>
              </a:rPr>
              <a:t> </a:t>
            </a:r>
            <a:r>
              <a:rPr lang="fr-FR" sz="1200" dirty="0" err="1">
                <a:highlight>
                  <a:srgbClr val="FF0000"/>
                </a:highlight>
                <a:ea typeface="Calibri" panose="020F0502020204030204" pitchFamily="34" charset="0"/>
              </a:rPr>
              <a:t>period</a:t>
            </a:r>
            <a:r>
              <a:rPr lang="fr-FR" sz="1200" dirty="0">
                <a:highlight>
                  <a:srgbClr val="FF0000"/>
                </a:highlight>
                <a:ea typeface="Calibri" panose="020F0502020204030204" pitchFamily="34" charset="0"/>
              </a:rPr>
              <a:t> comprises the Start date of the transaction.</a:t>
            </a:r>
          </a:p>
          <a:p>
            <a:pPr marL="285750" indent="-285750">
              <a:buFont typeface="Arial" panose="020B0604020202020204" pitchFamily="34" charset="0"/>
              <a:buChar char="•"/>
            </a:pPr>
            <a:endParaRPr lang="fr-FR" sz="1200" dirty="0"/>
          </a:p>
          <a:p>
            <a:pPr marL="285750" indent="-285750">
              <a:buFont typeface="Arial" panose="020B0604020202020204" pitchFamily="34" charset="0"/>
              <a:buChar char="•"/>
            </a:pPr>
            <a:endParaRPr lang="fr-FR" sz="1200" dirty="0"/>
          </a:p>
          <a:p>
            <a:pPr marL="285750" indent="-285750">
              <a:buFont typeface="Arial" panose="020B0604020202020204" pitchFamily="34" charset="0"/>
              <a:buChar char="•"/>
            </a:pPr>
            <a:endParaRPr lang="fr-FR" sz="1200" dirty="0"/>
          </a:p>
        </p:txBody>
      </p:sp>
      <p:sp>
        <p:nvSpPr>
          <p:cNvPr id="6" name="Espace réservé du numéro de diapositive 5">
            <a:extLst>
              <a:ext uri="{FF2B5EF4-FFF2-40B4-BE49-F238E27FC236}">
                <a16:creationId xmlns:a16="http://schemas.microsoft.com/office/drawing/2014/main" id="{EC9D517D-70A7-51E5-CA4E-DCE743F41F1A}"/>
              </a:ext>
            </a:extLst>
          </p:cNvPr>
          <p:cNvSpPr>
            <a:spLocks noGrp="1"/>
          </p:cNvSpPr>
          <p:nvPr>
            <p:ph type="sldNum" sz="quarter" idx="18"/>
          </p:nvPr>
        </p:nvSpPr>
        <p:spPr/>
        <p:txBody>
          <a:bodyPr/>
          <a:lstStyle/>
          <a:p>
            <a:fld id="{E9F690C6-F4CD-4FC2-95DF-E832AE3B8C23}" type="slidenum">
              <a:rPr lang="fr-FR" smtClean="0"/>
              <a:pPr/>
              <a:t>10</a:t>
            </a:fld>
            <a:endParaRPr lang="fr-FR"/>
          </a:p>
        </p:txBody>
      </p:sp>
    </p:spTree>
    <p:extLst>
      <p:ext uri="{BB962C8B-B14F-4D97-AF65-F5344CB8AC3E}">
        <p14:creationId xmlns:p14="http://schemas.microsoft.com/office/powerpoint/2010/main" val="423391343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A691175-E3FF-7DC1-B541-0E7FF0C4A2B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95" imgH="394" progId="TCLayout.ActiveDocument.1">
                  <p:embed/>
                </p:oleObj>
              </mc:Choice>
              <mc:Fallback>
                <p:oleObj name="Diapositive think-cell" r:id="rId3" imgW="395" imgH="394" progId="TCLayout.ActiveDocument.1">
                  <p:embed/>
                  <p:pic>
                    <p:nvPicPr>
                      <p:cNvPr id="5" name="think-cell data - do not delete" hidden="1">
                        <a:extLst>
                          <a:ext uri="{FF2B5EF4-FFF2-40B4-BE49-F238E27FC236}">
                            <a16:creationId xmlns:a16="http://schemas.microsoft.com/office/drawing/2014/main" id="{0A691175-E3FF-7DC1-B541-0E7FF0C4A2B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Espace réservé du texte 3">
            <a:extLst>
              <a:ext uri="{FF2B5EF4-FFF2-40B4-BE49-F238E27FC236}">
                <a16:creationId xmlns:a16="http://schemas.microsoft.com/office/drawing/2014/main" id="{430F12B2-8A30-D6A2-6AC7-ABAE7B02E283}"/>
              </a:ext>
            </a:extLst>
          </p:cNvPr>
          <p:cNvSpPr>
            <a:spLocks noGrp="1"/>
          </p:cNvSpPr>
          <p:nvPr>
            <p:ph type="body" sz="quarter" idx="16"/>
          </p:nvPr>
        </p:nvSpPr>
        <p:spPr>
          <a:xfrm>
            <a:off x="5074578" y="989922"/>
            <a:ext cx="5743250" cy="454972"/>
          </a:xfrm>
        </p:spPr>
        <p:txBody>
          <a:bodyPr/>
          <a:lstStyle/>
          <a:p>
            <a:pPr marL="285750" indent="-285750">
              <a:buFont typeface="Arial" panose="020B0604020202020204" pitchFamily="34" charset="0"/>
              <a:buChar char="•"/>
            </a:pPr>
            <a:r>
              <a:rPr lang="fr-FR" sz="1400" dirty="0"/>
              <a:t>Always </a:t>
            </a:r>
            <a:r>
              <a:rPr lang="fr-FR" sz="1400" dirty="0" err="1"/>
              <a:t>take</a:t>
            </a:r>
            <a:r>
              <a:rPr lang="fr-FR" sz="1400" dirty="0"/>
              <a:t> </a:t>
            </a:r>
            <a:r>
              <a:rPr lang="fr-FR" sz="1400" dirty="0" err="1"/>
              <a:t>this</a:t>
            </a:r>
            <a:r>
              <a:rPr lang="fr-FR" sz="1400" dirty="0"/>
              <a:t> URL </a:t>
            </a:r>
            <a:r>
              <a:rPr lang="fr-FR" sz="1400" dirty="0" err="1"/>
              <a:t>adress</a:t>
            </a:r>
            <a:r>
              <a:rPr lang="fr-FR" sz="1400" dirty="0"/>
              <a:t> for the </a:t>
            </a:r>
            <a:r>
              <a:rPr lang="fr-FR" sz="1400" dirty="0" err="1"/>
              <a:t>bemo</a:t>
            </a:r>
            <a:r>
              <a:rPr lang="fr-FR" sz="1400" dirty="0"/>
              <a:t> V2 </a:t>
            </a:r>
            <a:r>
              <a:rPr lang="fr-FR" sz="1400" dirty="0" err="1"/>
              <a:t>Pricer</a:t>
            </a:r>
            <a:endParaRPr lang="fr-FR" sz="1400" dirty="0"/>
          </a:p>
          <a:p>
            <a:pPr marL="285750" indent="-285750">
              <a:buFont typeface="Arial" panose="020B0604020202020204" pitchFamily="34" charset="0"/>
              <a:buChar char="•"/>
            </a:pPr>
            <a:endParaRPr lang="fr-FR" sz="1400" dirty="0"/>
          </a:p>
        </p:txBody>
      </p:sp>
      <p:sp>
        <p:nvSpPr>
          <p:cNvPr id="6" name="Espace réservé du numéro de diapositive 5">
            <a:extLst>
              <a:ext uri="{FF2B5EF4-FFF2-40B4-BE49-F238E27FC236}">
                <a16:creationId xmlns:a16="http://schemas.microsoft.com/office/drawing/2014/main" id="{EC9D517D-70A7-51E5-CA4E-DCE743F41F1A}"/>
              </a:ext>
            </a:extLst>
          </p:cNvPr>
          <p:cNvSpPr>
            <a:spLocks noGrp="1"/>
          </p:cNvSpPr>
          <p:nvPr>
            <p:ph type="sldNum" sz="quarter" idx="18"/>
          </p:nvPr>
        </p:nvSpPr>
        <p:spPr/>
        <p:txBody>
          <a:bodyPr/>
          <a:lstStyle/>
          <a:p>
            <a:fld id="{E9F690C6-F4CD-4FC2-95DF-E832AE3B8C23}" type="slidenum">
              <a:rPr lang="fr-FR" smtClean="0"/>
              <a:pPr/>
              <a:t>11</a:t>
            </a:fld>
            <a:endParaRPr lang="fr-FR"/>
          </a:p>
        </p:txBody>
      </p:sp>
      <p:sp>
        <p:nvSpPr>
          <p:cNvPr id="12" name="Titre 1">
            <a:extLst>
              <a:ext uri="{FF2B5EF4-FFF2-40B4-BE49-F238E27FC236}">
                <a16:creationId xmlns:a16="http://schemas.microsoft.com/office/drawing/2014/main" id="{29EF7313-B3C8-73E8-2C61-44F8D2646C08}"/>
              </a:ext>
            </a:extLst>
          </p:cNvPr>
          <p:cNvSpPr>
            <a:spLocks noGrp="1"/>
          </p:cNvSpPr>
          <p:nvPr>
            <p:ph type="title"/>
          </p:nvPr>
        </p:nvSpPr>
        <p:spPr>
          <a:xfrm>
            <a:off x="874868" y="302393"/>
            <a:ext cx="9738335" cy="649922"/>
          </a:xfrm>
        </p:spPr>
        <p:txBody>
          <a:bodyPr vert="horz"/>
          <a:lstStyle/>
          <a:p>
            <a:r>
              <a:rPr lang="fr-FR" dirty="0"/>
              <a:t>Python </a:t>
            </a:r>
            <a:r>
              <a:rPr lang="fr-FR" dirty="0" err="1"/>
              <a:t>Json</a:t>
            </a:r>
            <a:r>
              <a:rPr lang="fr-FR" dirty="0"/>
              <a:t> body description</a:t>
            </a:r>
          </a:p>
        </p:txBody>
      </p:sp>
      <p:sp>
        <p:nvSpPr>
          <p:cNvPr id="13" name="Espace réservé du texte 3">
            <a:extLst>
              <a:ext uri="{FF2B5EF4-FFF2-40B4-BE49-F238E27FC236}">
                <a16:creationId xmlns:a16="http://schemas.microsoft.com/office/drawing/2014/main" id="{488F5FF0-1869-D4F3-AC25-D3703023817D}"/>
              </a:ext>
            </a:extLst>
          </p:cNvPr>
          <p:cNvSpPr txBox="1">
            <a:spLocks/>
          </p:cNvSpPr>
          <p:nvPr/>
        </p:nvSpPr>
        <p:spPr>
          <a:xfrm>
            <a:off x="5074577" y="2122064"/>
            <a:ext cx="6297717" cy="454972"/>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Roboto" panose="02000000000000000000" pitchFamily="2" charset="0"/>
                <a:ea typeface="Roboto" panose="02000000000000000000" pitchFamily="2" charset="0"/>
                <a:cs typeface="+mn-cs"/>
              </a:defRPr>
            </a:lvl1pPr>
            <a:lvl2pPr marL="4572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oboto" panose="02000000000000000000" pitchFamily="2" charset="0"/>
                <a:ea typeface="Roboto" panose="02000000000000000000" pitchFamily="2" charset="0"/>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oboto" panose="02000000000000000000" pitchFamily="2" charset="0"/>
                <a:ea typeface="Roboto" panose="02000000000000000000" pitchFamily="2" charset="0"/>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oboto" panose="02000000000000000000" pitchFamily="2" charset="0"/>
                <a:ea typeface="Roboto" panose="02000000000000000000" pitchFamily="2" charset="0"/>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oboto" panose="02000000000000000000" pitchFamily="2" charset="0"/>
                <a:ea typeface="Roboto" panose="02000000000000000000"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fr-FR" sz="1400" dirty="0" err="1"/>
              <a:t>ChargingPeriodCollection_Body</a:t>
            </a:r>
            <a:r>
              <a:rPr lang="fr-FR" sz="1400" dirty="0"/>
              <a:t> </a:t>
            </a:r>
            <a:r>
              <a:rPr lang="fr-FR" sz="1400" dirty="0" err="1"/>
              <a:t>from</a:t>
            </a:r>
            <a:r>
              <a:rPr lang="fr-FR" sz="1400" dirty="0"/>
              <a:t> Transactions file (one or more Dimensions, </a:t>
            </a:r>
            <a:r>
              <a:rPr lang="fr-FR" sz="1400" dirty="0" err="1"/>
              <a:t>here</a:t>
            </a:r>
            <a:r>
              <a:rPr lang="fr-FR" sz="1400" dirty="0"/>
              <a:t> 2h and 36 kWh </a:t>
            </a:r>
            <a:r>
              <a:rPr lang="fr-FR" sz="1400" dirty="0" err="1"/>
              <a:t>consumed</a:t>
            </a:r>
            <a:r>
              <a:rPr lang="fr-FR" sz="1400" dirty="0"/>
              <a:t> in </a:t>
            </a:r>
            <a:r>
              <a:rPr lang="fr-FR" sz="1400" dirty="0" err="1"/>
              <a:t>this</a:t>
            </a:r>
            <a:r>
              <a:rPr lang="fr-FR" sz="1400" dirty="0"/>
              <a:t> session )</a:t>
            </a:r>
          </a:p>
          <a:p>
            <a:pPr marL="285750" indent="-285750">
              <a:buFont typeface="Arial" panose="020B0604020202020204" pitchFamily="34" charset="0"/>
              <a:buChar char="•"/>
            </a:pPr>
            <a:endParaRPr lang="fr-FR" sz="1400" dirty="0"/>
          </a:p>
        </p:txBody>
      </p:sp>
      <p:pic>
        <p:nvPicPr>
          <p:cNvPr id="15" name="Image 14">
            <a:extLst>
              <a:ext uri="{FF2B5EF4-FFF2-40B4-BE49-F238E27FC236}">
                <a16:creationId xmlns:a16="http://schemas.microsoft.com/office/drawing/2014/main" id="{F24E0C5B-F6EC-116B-57B5-278D48AD7EFD}"/>
              </a:ext>
            </a:extLst>
          </p:cNvPr>
          <p:cNvPicPr>
            <a:picLocks noChangeAspect="1"/>
          </p:cNvPicPr>
          <p:nvPr/>
        </p:nvPicPr>
        <p:blipFill rotWithShape="1">
          <a:blip r:embed="rId5"/>
          <a:srcRect r="35776"/>
          <a:stretch/>
        </p:blipFill>
        <p:spPr>
          <a:xfrm>
            <a:off x="677891" y="4108273"/>
            <a:ext cx="3185192" cy="2598914"/>
          </a:xfrm>
          <a:prstGeom prst="rect">
            <a:avLst/>
          </a:prstGeom>
        </p:spPr>
      </p:pic>
      <p:sp>
        <p:nvSpPr>
          <p:cNvPr id="16" name="Espace réservé du texte 3">
            <a:extLst>
              <a:ext uri="{FF2B5EF4-FFF2-40B4-BE49-F238E27FC236}">
                <a16:creationId xmlns:a16="http://schemas.microsoft.com/office/drawing/2014/main" id="{965763B9-0052-99B3-B6D2-11731675D6B0}"/>
              </a:ext>
            </a:extLst>
          </p:cNvPr>
          <p:cNvSpPr txBox="1">
            <a:spLocks/>
          </p:cNvSpPr>
          <p:nvPr/>
        </p:nvSpPr>
        <p:spPr>
          <a:xfrm>
            <a:off x="3953838" y="4153669"/>
            <a:ext cx="7984733" cy="454972"/>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Roboto" panose="02000000000000000000" pitchFamily="2" charset="0"/>
                <a:ea typeface="Roboto" panose="02000000000000000000" pitchFamily="2" charset="0"/>
                <a:cs typeface="+mn-cs"/>
              </a:defRPr>
            </a:lvl1pPr>
            <a:lvl2pPr marL="4572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oboto" panose="02000000000000000000" pitchFamily="2" charset="0"/>
                <a:ea typeface="Roboto" panose="02000000000000000000" pitchFamily="2" charset="0"/>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oboto" panose="02000000000000000000" pitchFamily="2" charset="0"/>
                <a:ea typeface="Roboto" panose="02000000000000000000" pitchFamily="2" charset="0"/>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oboto" panose="02000000000000000000" pitchFamily="2" charset="0"/>
                <a:ea typeface="Roboto" panose="02000000000000000000" pitchFamily="2" charset="0"/>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oboto" panose="02000000000000000000" pitchFamily="2" charset="0"/>
                <a:ea typeface="Roboto" panose="02000000000000000000"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fr-FR" sz="1400" dirty="0"/>
              <a:t>Input not </a:t>
            </a:r>
            <a:r>
              <a:rPr lang="fr-FR" sz="1400" dirty="0" err="1"/>
              <a:t>mandatory</a:t>
            </a:r>
            <a:r>
              <a:rPr lang="fr-FR" sz="1400" dirty="0"/>
              <a:t> : </a:t>
            </a:r>
            <a:r>
              <a:rPr lang="fr-FR" sz="1400" dirty="0" err="1"/>
              <a:t>adapt</a:t>
            </a:r>
            <a:r>
              <a:rPr lang="fr-FR" sz="1400" dirty="0"/>
              <a:t> </a:t>
            </a:r>
            <a:r>
              <a:rPr lang="fr-FR" sz="1400" dirty="0" err="1"/>
              <a:t>it</a:t>
            </a:r>
            <a:r>
              <a:rPr lang="fr-FR" sz="1400" dirty="0"/>
              <a:t> as </a:t>
            </a:r>
            <a:r>
              <a:rPr lang="fr-FR" sz="1400" dirty="0" err="1"/>
              <a:t>you</a:t>
            </a:r>
            <a:r>
              <a:rPr lang="fr-FR" sz="1400" dirty="0"/>
              <a:t> </a:t>
            </a:r>
            <a:r>
              <a:rPr lang="fr-FR" sz="1400" dirty="0" err="1"/>
              <a:t>want</a:t>
            </a:r>
            <a:r>
              <a:rPr lang="fr-FR" sz="1400" dirty="0"/>
              <a:t>. </a:t>
            </a:r>
            <a:r>
              <a:rPr lang="fr-FR" sz="1400" dirty="0" err="1"/>
              <a:t>Whether</a:t>
            </a:r>
            <a:r>
              <a:rPr lang="fr-FR" sz="1400" dirty="0"/>
              <a:t> unique Id for </a:t>
            </a:r>
            <a:r>
              <a:rPr lang="fr-FR" sz="1400" dirty="0" err="1"/>
              <a:t>your</a:t>
            </a:r>
            <a:r>
              <a:rPr lang="fr-FR" sz="1400" dirty="0"/>
              <a:t> computation or </a:t>
            </a:r>
            <a:r>
              <a:rPr lang="fr-FR" sz="1400" dirty="0" err="1"/>
              <a:t>always</a:t>
            </a:r>
            <a:r>
              <a:rPr lang="fr-FR" sz="1400" dirty="0"/>
              <a:t> the </a:t>
            </a:r>
            <a:r>
              <a:rPr lang="fr-FR" sz="1400" dirty="0" err="1"/>
              <a:t>same</a:t>
            </a:r>
            <a:r>
              <a:rPr lang="fr-FR" sz="1400" dirty="0"/>
              <a:t>.</a:t>
            </a:r>
          </a:p>
          <a:p>
            <a:pPr marL="285750" indent="-285750">
              <a:buFont typeface="Arial" panose="020B0604020202020204" pitchFamily="34" charset="0"/>
              <a:buChar char="•"/>
            </a:pPr>
            <a:endParaRPr lang="fr-FR" sz="1400" dirty="0"/>
          </a:p>
        </p:txBody>
      </p:sp>
      <p:sp>
        <p:nvSpPr>
          <p:cNvPr id="17" name="Espace réservé du texte 3">
            <a:extLst>
              <a:ext uri="{FF2B5EF4-FFF2-40B4-BE49-F238E27FC236}">
                <a16:creationId xmlns:a16="http://schemas.microsoft.com/office/drawing/2014/main" id="{89D70CB5-D9A3-D51B-9308-28E0A8CF26FA}"/>
              </a:ext>
            </a:extLst>
          </p:cNvPr>
          <p:cNvSpPr txBox="1">
            <a:spLocks/>
          </p:cNvSpPr>
          <p:nvPr/>
        </p:nvSpPr>
        <p:spPr>
          <a:xfrm>
            <a:off x="3953838" y="4592199"/>
            <a:ext cx="7984733" cy="454972"/>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Roboto" panose="02000000000000000000" pitchFamily="2" charset="0"/>
                <a:ea typeface="Roboto" panose="02000000000000000000" pitchFamily="2" charset="0"/>
                <a:cs typeface="+mn-cs"/>
              </a:defRPr>
            </a:lvl1pPr>
            <a:lvl2pPr marL="4572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oboto" panose="02000000000000000000" pitchFamily="2" charset="0"/>
                <a:ea typeface="Roboto" panose="02000000000000000000" pitchFamily="2" charset="0"/>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oboto" panose="02000000000000000000" pitchFamily="2" charset="0"/>
                <a:ea typeface="Roboto" panose="02000000000000000000" pitchFamily="2" charset="0"/>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oboto" panose="02000000000000000000" pitchFamily="2" charset="0"/>
                <a:ea typeface="Roboto" panose="02000000000000000000" pitchFamily="2" charset="0"/>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oboto" panose="02000000000000000000" pitchFamily="2" charset="0"/>
                <a:ea typeface="Roboto" panose="02000000000000000000"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fr-FR" sz="1400" dirty="0"/>
              <a:t>Currency code </a:t>
            </a:r>
            <a:r>
              <a:rPr lang="fr-FR" sz="1400" dirty="0" err="1"/>
              <a:t>from</a:t>
            </a:r>
            <a:r>
              <a:rPr lang="fr-FR" sz="1400" dirty="0"/>
              <a:t> Formula </a:t>
            </a:r>
            <a:r>
              <a:rPr lang="fr-FR" sz="1400" dirty="0" err="1"/>
              <a:t>parameter</a:t>
            </a:r>
            <a:r>
              <a:rPr lang="fr-FR" sz="1400" dirty="0"/>
              <a:t> in Price formula file.</a:t>
            </a:r>
          </a:p>
          <a:p>
            <a:pPr marL="285750" indent="-285750">
              <a:buFont typeface="Arial" panose="020B0604020202020204" pitchFamily="34" charset="0"/>
              <a:buChar char="•"/>
            </a:pPr>
            <a:endParaRPr lang="fr-FR" sz="1400" dirty="0"/>
          </a:p>
        </p:txBody>
      </p:sp>
      <p:sp>
        <p:nvSpPr>
          <p:cNvPr id="18" name="Espace réservé du texte 3">
            <a:extLst>
              <a:ext uri="{FF2B5EF4-FFF2-40B4-BE49-F238E27FC236}">
                <a16:creationId xmlns:a16="http://schemas.microsoft.com/office/drawing/2014/main" id="{BC7E6361-9DC6-372B-9F04-AFD3EC988728}"/>
              </a:ext>
            </a:extLst>
          </p:cNvPr>
          <p:cNvSpPr txBox="1">
            <a:spLocks/>
          </p:cNvSpPr>
          <p:nvPr/>
        </p:nvSpPr>
        <p:spPr>
          <a:xfrm>
            <a:off x="3953838" y="5237561"/>
            <a:ext cx="7984733" cy="454972"/>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Roboto" panose="02000000000000000000" pitchFamily="2" charset="0"/>
                <a:ea typeface="Roboto" panose="02000000000000000000" pitchFamily="2" charset="0"/>
                <a:cs typeface="+mn-cs"/>
              </a:defRPr>
            </a:lvl1pPr>
            <a:lvl2pPr marL="4572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oboto" panose="02000000000000000000" pitchFamily="2" charset="0"/>
                <a:ea typeface="Roboto" panose="02000000000000000000" pitchFamily="2" charset="0"/>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oboto" panose="02000000000000000000" pitchFamily="2" charset="0"/>
                <a:ea typeface="Roboto" panose="02000000000000000000" pitchFamily="2" charset="0"/>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oboto" panose="02000000000000000000" pitchFamily="2" charset="0"/>
                <a:ea typeface="Roboto" panose="02000000000000000000" pitchFamily="2" charset="0"/>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oboto" panose="02000000000000000000" pitchFamily="2" charset="0"/>
                <a:ea typeface="Roboto" panose="02000000000000000000"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fr-FR" sz="1400" dirty="0"/>
              <a:t>‘</a:t>
            </a:r>
            <a:r>
              <a:rPr lang="fr-FR" sz="1400" dirty="0" err="1"/>
              <a:t>Elements</a:t>
            </a:r>
            <a:r>
              <a:rPr lang="fr-FR" sz="1400" dirty="0"/>
              <a:t>’ and ‘</a:t>
            </a:r>
            <a:r>
              <a:rPr lang="fr-FR" sz="1400" dirty="0" err="1"/>
              <a:t>priceComponents</a:t>
            </a:r>
            <a:r>
              <a:rPr lang="fr-FR" sz="1400" dirty="0"/>
              <a:t>’ </a:t>
            </a:r>
            <a:r>
              <a:rPr lang="fr-FR" sz="1400" dirty="0" err="1"/>
              <a:t>from</a:t>
            </a:r>
            <a:r>
              <a:rPr lang="fr-FR" sz="1400" dirty="0"/>
              <a:t> Formula </a:t>
            </a:r>
            <a:r>
              <a:rPr lang="fr-FR" sz="1400" dirty="0" err="1"/>
              <a:t>parameter</a:t>
            </a:r>
            <a:r>
              <a:rPr lang="fr-FR" sz="1400" dirty="0"/>
              <a:t> in Price formula file.</a:t>
            </a:r>
          </a:p>
        </p:txBody>
      </p:sp>
      <p:sp>
        <p:nvSpPr>
          <p:cNvPr id="19" name="Espace réservé du texte 3">
            <a:extLst>
              <a:ext uri="{FF2B5EF4-FFF2-40B4-BE49-F238E27FC236}">
                <a16:creationId xmlns:a16="http://schemas.microsoft.com/office/drawing/2014/main" id="{D57C5076-A0CF-2EF3-9E2E-71A13E175928}"/>
              </a:ext>
            </a:extLst>
          </p:cNvPr>
          <p:cNvSpPr txBox="1">
            <a:spLocks/>
          </p:cNvSpPr>
          <p:nvPr/>
        </p:nvSpPr>
        <p:spPr>
          <a:xfrm>
            <a:off x="3953837" y="6174010"/>
            <a:ext cx="7984733" cy="454972"/>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Roboto" panose="02000000000000000000" pitchFamily="2" charset="0"/>
                <a:ea typeface="Roboto" panose="02000000000000000000" pitchFamily="2" charset="0"/>
                <a:cs typeface="+mn-cs"/>
              </a:defRPr>
            </a:lvl1pPr>
            <a:lvl2pPr marL="4572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oboto" panose="02000000000000000000" pitchFamily="2" charset="0"/>
                <a:ea typeface="Roboto" panose="02000000000000000000" pitchFamily="2" charset="0"/>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oboto" panose="02000000000000000000" pitchFamily="2" charset="0"/>
                <a:ea typeface="Roboto" panose="02000000000000000000" pitchFamily="2" charset="0"/>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oboto" panose="02000000000000000000" pitchFamily="2" charset="0"/>
                <a:ea typeface="Roboto" panose="02000000000000000000" pitchFamily="2" charset="0"/>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oboto" panose="02000000000000000000" pitchFamily="2" charset="0"/>
                <a:ea typeface="Roboto" panose="02000000000000000000"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fr-FR" sz="1400" dirty="0"/>
              <a:t>Country </a:t>
            </a:r>
            <a:r>
              <a:rPr lang="fr-FR" sz="1400" dirty="0" err="1"/>
              <a:t>parameter</a:t>
            </a:r>
            <a:r>
              <a:rPr lang="fr-FR" sz="1400" dirty="0"/>
              <a:t> </a:t>
            </a:r>
            <a:r>
              <a:rPr lang="fr-FR" sz="1400" dirty="0" err="1"/>
              <a:t>from</a:t>
            </a:r>
            <a:r>
              <a:rPr lang="fr-FR" sz="1400" dirty="0"/>
              <a:t> </a:t>
            </a:r>
            <a:r>
              <a:rPr lang="fr-FR" sz="1400" dirty="0" err="1"/>
              <a:t>Country_Code</a:t>
            </a:r>
            <a:r>
              <a:rPr lang="fr-FR" sz="1400" dirty="0"/>
              <a:t> in Price formula file.</a:t>
            </a:r>
          </a:p>
        </p:txBody>
      </p:sp>
      <p:pic>
        <p:nvPicPr>
          <p:cNvPr id="3" name="Image 2">
            <a:extLst>
              <a:ext uri="{FF2B5EF4-FFF2-40B4-BE49-F238E27FC236}">
                <a16:creationId xmlns:a16="http://schemas.microsoft.com/office/drawing/2014/main" id="{6932AF41-09E1-C267-49EF-0AED8C1A07AC}"/>
              </a:ext>
            </a:extLst>
          </p:cNvPr>
          <p:cNvPicPr>
            <a:picLocks noChangeAspect="1"/>
          </p:cNvPicPr>
          <p:nvPr/>
        </p:nvPicPr>
        <p:blipFill>
          <a:blip r:embed="rId6"/>
          <a:stretch>
            <a:fillRect/>
          </a:stretch>
        </p:blipFill>
        <p:spPr>
          <a:xfrm>
            <a:off x="677891" y="1019152"/>
            <a:ext cx="4293604" cy="2869856"/>
          </a:xfrm>
          <a:prstGeom prst="rect">
            <a:avLst/>
          </a:prstGeom>
        </p:spPr>
      </p:pic>
    </p:spTree>
    <p:extLst>
      <p:ext uri="{BB962C8B-B14F-4D97-AF65-F5344CB8AC3E}">
        <p14:creationId xmlns:p14="http://schemas.microsoft.com/office/powerpoint/2010/main" val="16920573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A691175-E3FF-7DC1-B541-0E7FF0C4A2B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95" imgH="394" progId="TCLayout.ActiveDocument.1">
                  <p:embed/>
                </p:oleObj>
              </mc:Choice>
              <mc:Fallback>
                <p:oleObj name="Diapositive think-cell" r:id="rId3" imgW="395" imgH="394" progId="TCLayout.ActiveDocument.1">
                  <p:embed/>
                  <p:pic>
                    <p:nvPicPr>
                      <p:cNvPr id="5" name="think-cell data - do not delete" hidden="1">
                        <a:extLst>
                          <a:ext uri="{FF2B5EF4-FFF2-40B4-BE49-F238E27FC236}">
                            <a16:creationId xmlns:a16="http://schemas.microsoft.com/office/drawing/2014/main" id="{0A691175-E3FF-7DC1-B541-0E7FF0C4A2B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Espace réservé du texte 3">
            <a:extLst>
              <a:ext uri="{FF2B5EF4-FFF2-40B4-BE49-F238E27FC236}">
                <a16:creationId xmlns:a16="http://schemas.microsoft.com/office/drawing/2014/main" id="{430F12B2-8A30-D6A2-6AC7-ABAE7B02E283}"/>
              </a:ext>
            </a:extLst>
          </p:cNvPr>
          <p:cNvSpPr>
            <a:spLocks noGrp="1"/>
          </p:cNvSpPr>
          <p:nvPr>
            <p:ph type="body" sz="quarter" idx="16"/>
          </p:nvPr>
        </p:nvSpPr>
        <p:spPr>
          <a:xfrm>
            <a:off x="851579" y="1844092"/>
            <a:ext cx="11145896" cy="3621760"/>
          </a:xfrm>
        </p:spPr>
        <p:txBody>
          <a:bodyPr/>
          <a:lstStyle/>
          <a:p>
            <a:pPr marL="285750" indent="-285750">
              <a:buFont typeface="Arial" panose="020B0604020202020204" pitchFamily="34" charset="0"/>
              <a:buChar char="•"/>
            </a:pPr>
            <a:r>
              <a:rPr lang="fr-FR" sz="1400" dirty="0"/>
              <a:t>Once the </a:t>
            </a:r>
            <a:r>
              <a:rPr lang="fr-FR" sz="1400" dirty="0" err="1"/>
              <a:t>request</a:t>
            </a:r>
            <a:r>
              <a:rPr lang="fr-FR" sz="1400" dirty="0"/>
              <a:t> </a:t>
            </a:r>
            <a:r>
              <a:rPr lang="fr-FR" sz="1400" dirty="0" err="1"/>
              <a:t>was</a:t>
            </a:r>
            <a:r>
              <a:rPr lang="fr-FR" sz="1400" dirty="0"/>
              <a:t> </a:t>
            </a:r>
            <a:r>
              <a:rPr lang="fr-FR" sz="1400" dirty="0" err="1"/>
              <a:t>submitted</a:t>
            </a:r>
            <a:r>
              <a:rPr lang="fr-FR" sz="1400" dirty="0"/>
              <a:t> to </a:t>
            </a:r>
            <a:r>
              <a:rPr lang="fr-FR" sz="1400" dirty="0" err="1"/>
              <a:t>Bemo</a:t>
            </a:r>
            <a:r>
              <a:rPr lang="fr-FR" sz="1400" dirty="0"/>
              <a:t> </a:t>
            </a:r>
            <a:r>
              <a:rPr lang="fr-FR" sz="1400" dirty="0" err="1"/>
              <a:t>Pricer</a:t>
            </a:r>
            <a:r>
              <a:rPr lang="fr-FR" sz="1400" dirty="0"/>
              <a:t>, an </a:t>
            </a:r>
            <a:r>
              <a:rPr lang="fr-FR" sz="1400" dirty="0" err="1"/>
              <a:t>answer</a:t>
            </a:r>
            <a:r>
              <a:rPr lang="fr-FR" sz="1400" dirty="0"/>
              <a:t> </a:t>
            </a:r>
            <a:r>
              <a:rPr lang="fr-FR" sz="1400" dirty="0" err="1"/>
              <a:t>is</a:t>
            </a:r>
            <a:r>
              <a:rPr lang="fr-FR" sz="1400" dirty="0"/>
              <a:t> </a:t>
            </a:r>
            <a:r>
              <a:rPr lang="fr-FR" sz="1400" dirty="0" err="1"/>
              <a:t>given</a:t>
            </a:r>
            <a:r>
              <a:rPr lang="fr-FR" sz="1400" dirty="0"/>
              <a:t> </a:t>
            </a:r>
            <a:r>
              <a:rPr lang="fr-FR" sz="1400" dirty="0" err="1"/>
              <a:t>through</a:t>
            </a:r>
            <a:r>
              <a:rPr lang="fr-FR" sz="1400" dirty="0"/>
              <a:t> the </a:t>
            </a:r>
            <a:r>
              <a:rPr lang="fr-FR" sz="1400" dirty="0" err="1"/>
              <a:t>dictionary</a:t>
            </a:r>
            <a:r>
              <a:rPr lang="fr-FR" sz="1400" dirty="0"/>
              <a:t> ‘</a:t>
            </a:r>
            <a:r>
              <a:rPr lang="fr-FR" sz="1400" dirty="0" err="1"/>
              <a:t>Response</a:t>
            </a:r>
            <a:r>
              <a:rPr lang="fr-FR" sz="1400" dirty="0"/>
              <a:t>’. </a:t>
            </a:r>
          </a:p>
          <a:p>
            <a:pPr marL="285750" indent="-285750">
              <a:buFont typeface="Arial" panose="020B0604020202020204" pitchFamily="34" charset="0"/>
              <a:buChar char="•"/>
            </a:pPr>
            <a:r>
              <a:rPr lang="fr-FR" sz="1400" dirty="0"/>
              <a:t>As </a:t>
            </a:r>
            <a:r>
              <a:rPr lang="fr-FR" sz="1400" dirty="0" err="1"/>
              <a:t>described</a:t>
            </a:r>
            <a:r>
              <a:rPr lang="fr-FR" sz="1400" dirty="0"/>
              <a:t> in item 1 </a:t>
            </a:r>
            <a:r>
              <a:rPr lang="fr-FR" sz="1400" dirty="0" err="1"/>
              <a:t>features</a:t>
            </a:r>
            <a:r>
              <a:rPr lang="fr-FR" sz="1400" dirty="0"/>
              <a:t> description, ‘flat’ corresponds to </a:t>
            </a:r>
            <a:r>
              <a:rPr kumimoji="0" lang="fr-FR" altLang="fr-FR" sz="1400" b="0" i="0" u="none" strike="noStrike" cap="none" normalizeH="0" baseline="0" dirty="0" err="1">
                <a:ln>
                  <a:noFill/>
                </a:ln>
                <a:solidFill>
                  <a:schemeClr val="tx1"/>
                </a:solidFill>
                <a:effectLst/>
              </a:rPr>
              <a:t>Transaction_Price_Bemo_Flat_Component</a:t>
            </a:r>
            <a:r>
              <a:rPr kumimoji="0" lang="fr-FR" altLang="fr-FR" sz="1400" b="0" i="0" u="none" strike="noStrike" cap="none" normalizeH="0" baseline="0" dirty="0">
                <a:ln>
                  <a:noFill/>
                </a:ln>
                <a:solidFill>
                  <a:schemeClr val="tx1"/>
                </a:solidFill>
                <a:effectLst/>
              </a:rPr>
              <a:t> ans </a:t>
            </a:r>
            <a:r>
              <a:rPr kumimoji="0" lang="fr-FR" altLang="fr-FR" sz="1400" b="0" i="0" u="none" strike="noStrike" cap="none" normalizeH="0" baseline="0" dirty="0" err="1">
                <a:ln>
                  <a:noFill/>
                </a:ln>
                <a:solidFill>
                  <a:schemeClr val="tx1"/>
                </a:solidFill>
                <a:effectLst/>
              </a:rPr>
              <a:t>so</a:t>
            </a:r>
            <a:r>
              <a:rPr kumimoji="0" lang="fr-FR" altLang="fr-FR" sz="1400" b="0" i="0" u="none" strike="noStrike" cap="none" normalizeH="0" baseline="0" dirty="0">
                <a:ln>
                  <a:noFill/>
                </a:ln>
                <a:solidFill>
                  <a:schemeClr val="tx1"/>
                </a:solidFill>
                <a:effectLst/>
              </a:rPr>
              <a:t> on…</a:t>
            </a:r>
            <a:br>
              <a:rPr kumimoji="0" lang="fr-FR" altLang="fr-FR" sz="1400" b="0" i="0" u="none" strike="noStrike" cap="none" normalizeH="0" baseline="0" dirty="0">
                <a:ln>
                  <a:noFill/>
                </a:ln>
                <a:solidFill>
                  <a:schemeClr val="tx1"/>
                </a:solidFill>
                <a:effectLst/>
              </a:rPr>
            </a:br>
            <a:r>
              <a:rPr kumimoji="0" lang="fr-FR" altLang="fr-FR" sz="1400" b="0" i="0" u="none" strike="noStrike" cap="none" normalizeH="0" baseline="0" dirty="0">
                <a:ln>
                  <a:noFill/>
                </a:ln>
                <a:solidFill>
                  <a:schemeClr val="tx1"/>
                </a:solidFill>
                <a:effectLst/>
              </a:rPr>
              <a:t>Up to </a:t>
            </a:r>
            <a:r>
              <a:rPr kumimoji="0" lang="fr-FR" altLang="fr-FR" sz="1400" b="0" i="0" u="none" strike="noStrike" cap="none" normalizeH="0" baseline="0" dirty="0" err="1">
                <a:ln>
                  <a:noFill/>
                </a:ln>
                <a:solidFill>
                  <a:schemeClr val="tx1"/>
                </a:solidFill>
                <a:effectLst/>
              </a:rPr>
              <a:t>you</a:t>
            </a:r>
            <a:r>
              <a:rPr kumimoji="0" lang="fr-FR" altLang="fr-FR" sz="1400" b="0" i="0" u="none" strike="noStrike" cap="none" normalizeH="0" baseline="0" dirty="0">
                <a:ln>
                  <a:noFill/>
                </a:ln>
                <a:solidFill>
                  <a:schemeClr val="tx1"/>
                </a:solidFill>
                <a:effectLst/>
              </a:rPr>
              <a:t> to </a:t>
            </a:r>
            <a:r>
              <a:rPr kumimoji="0" lang="fr-FR" altLang="fr-FR" sz="1400" b="0" i="0" u="none" strike="noStrike" cap="none" normalizeH="0" baseline="0" dirty="0" err="1">
                <a:ln>
                  <a:noFill/>
                </a:ln>
                <a:solidFill>
                  <a:schemeClr val="tx1"/>
                </a:solidFill>
                <a:effectLst/>
              </a:rPr>
              <a:t>handle</a:t>
            </a:r>
            <a:r>
              <a:rPr kumimoji="0" lang="fr-FR" altLang="fr-FR" sz="1400" b="0" i="0" u="none" strike="noStrike" cap="none" normalizeH="0" baseline="0" dirty="0">
                <a:ln>
                  <a:noFill/>
                </a:ln>
                <a:solidFill>
                  <a:schemeClr val="tx1"/>
                </a:solidFill>
                <a:effectLst/>
              </a:rPr>
              <a:t> exceptions (nan, None, computation not </a:t>
            </a:r>
            <a:r>
              <a:rPr kumimoji="0" lang="fr-FR" altLang="fr-FR" sz="1400" b="0" i="0" u="none" strike="noStrike" cap="none" normalizeH="0" baseline="0" dirty="0" err="1">
                <a:ln>
                  <a:noFill/>
                </a:ln>
                <a:solidFill>
                  <a:schemeClr val="tx1"/>
                </a:solidFill>
                <a:effectLst/>
              </a:rPr>
              <a:t>valid</a:t>
            </a:r>
            <a:r>
              <a:rPr kumimoji="0" lang="fr-FR" altLang="fr-FR" sz="1400" b="0" i="0" u="none" strike="noStrike" cap="none" normalizeH="0" baseline="0" dirty="0">
                <a:ln>
                  <a:noFill/>
                </a:ln>
                <a:solidFill>
                  <a:schemeClr val="tx1"/>
                </a:solidFill>
                <a:effectLst/>
              </a:rPr>
              <a:t>, etc…) </a:t>
            </a:r>
            <a:r>
              <a:rPr kumimoji="0" lang="fr-FR" altLang="fr-FR" sz="1400" b="0" i="0" u="none" strike="noStrike" cap="none" normalizeH="0" baseline="0" dirty="0" err="1">
                <a:ln>
                  <a:noFill/>
                </a:ln>
                <a:solidFill>
                  <a:schemeClr val="tx1"/>
                </a:solidFill>
                <a:effectLst/>
              </a:rPr>
              <a:t>when</a:t>
            </a:r>
            <a:r>
              <a:rPr kumimoji="0" lang="fr-FR" altLang="fr-FR" sz="1400" b="0" i="0" u="none" strike="noStrike" cap="none" normalizeH="0" baseline="0" dirty="0">
                <a:ln>
                  <a:noFill/>
                </a:ln>
                <a:solidFill>
                  <a:schemeClr val="tx1"/>
                </a:solidFill>
                <a:effectLst/>
              </a:rPr>
              <a:t>  </a:t>
            </a:r>
            <a:r>
              <a:rPr kumimoji="0" lang="fr-FR" altLang="fr-FR" sz="1400" b="0" i="0" u="none" strike="noStrike" cap="none" normalizeH="0" baseline="0" dirty="0" err="1">
                <a:ln>
                  <a:noFill/>
                </a:ln>
                <a:solidFill>
                  <a:schemeClr val="tx1"/>
                </a:solidFill>
                <a:effectLst/>
              </a:rPr>
              <a:t>performing</a:t>
            </a:r>
            <a:r>
              <a:rPr kumimoji="0" lang="fr-FR" altLang="fr-FR" sz="1400" b="0" i="0" u="none" strike="noStrike" cap="none" normalizeH="0" baseline="0" dirty="0">
                <a:ln>
                  <a:noFill/>
                </a:ln>
                <a:solidFill>
                  <a:schemeClr val="tx1"/>
                </a:solidFill>
                <a:effectLst/>
              </a:rPr>
              <a:t> batch computation.</a:t>
            </a:r>
            <a:endParaRPr lang="fr-FR" sz="1400" dirty="0"/>
          </a:p>
          <a:p>
            <a:pPr marL="285750" indent="-285750">
              <a:buFont typeface="Arial" panose="020B0604020202020204" pitchFamily="34" charset="0"/>
              <a:buChar char="•"/>
            </a:pPr>
            <a:r>
              <a:rPr lang="fr-FR" sz="1400" dirty="0" err="1"/>
              <a:t>These</a:t>
            </a:r>
            <a:r>
              <a:rPr lang="fr-FR" sz="1400" dirty="0"/>
              <a:t> are components of </a:t>
            </a:r>
            <a:r>
              <a:rPr lang="fr-FR" sz="1400" dirty="0" err="1"/>
              <a:t>Transaction_Price_Bemo_Estimation</a:t>
            </a:r>
            <a:r>
              <a:rPr lang="fr-FR" sz="1400" dirty="0"/>
              <a:t> </a:t>
            </a:r>
            <a:r>
              <a:rPr lang="fr-FR" sz="1400" dirty="0" err="1"/>
              <a:t>which</a:t>
            </a:r>
            <a:r>
              <a:rPr lang="fr-FR" sz="1400" dirty="0"/>
              <a:t> </a:t>
            </a:r>
            <a:r>
              <a:rPr lang="fr-FR" sz="1400" dirty="0" err="1"/>
              <a:t>is</a:t>
            </a:r>
            <a:r>
              <a:rPr lang="fr-FR" sz="1400" dirty="0"/>
              <a:t> the </a:t>
            </a:r>
            <a:r>
              <a:rPr lang="fr-FR" sz="1400" dirty="0" err="1"/>
              <a:t>sum</a:t>
            </a:r>
            <a:r>
              <a:rPr lang="fr-FR" sz="1400" dirty="0"/>
              <a:t> of </a:t>
            </a:r>
            <a:r>
              <a:rPr lang="fr-FR" sz="1400" dirty="0" err="1"/>
              <a:t>them</a:t>
            </a:r>
            <a:r>
              <a:rPr lang="fr-FR" sz="1400" dirty="0"/>
              <a:t>.</a:t>
            </a:r>
          </a:p>
          <a:p>
            <a:pPr marL="285750" indent="-285750">
              <a:buFont typeface="Arial" panose="020B0604020202020204" pitchFamily="34" charset="0"/>
              <a:buChar char="•"/>
            </a:pPr>
            <a:r>
              <a:rPr lang="fr-FR" sz="1400" dirty="0" err="1">
                <a:highlight>
                  <a:srgbClr val="FF0000"/>
                </a:highlight>
              </a:rPr>
              <a:t>Please</a:t>
            </a:r>
            <a:r>
              <a:rPr lang="fr-FR" sz="1400" dirty="0">
                <a:highlight>
                  <a:srgbClr val="FF0000"/>
                </a:highlight>
              </a:rPr>
              <a:t> </a:t>
            </a:r>
            <a:r>
              <a:rPr lang="fr-FR" sz="1400" dirty="0" err="1">
                <a:highlight>
                  <a:srgbClr val="FF0000"/>
                </a:highlight>
              </a:rPr>
              <a:t>take</a:t>
            </a:r>
            <a:r>
              <a:rPr lang="fr-FR" sz="1400" dirty="0">
                <a:highlight>
                  <a:srgbClr val="FF0000"/>
                </a:highlight>
              </a:rPr>
              <a:t> Tra</a:t>
            </a:r>
            <a:r>
              <a:rPr lang="en-US" sz="1400" dirty="0" err="1">
                <a:highlight>
                  <a:srgbClr val="FF0000"/>
                </a:highlight>
              </a:rPr>
              <a:t>nsaction_Price_Bemo_Flat_Component</a:t>
            </a:r>
            <a:r>
              <a:rPr lang="en-US" sz="1400" dirty="0">
                <a:highlight>
                  <a:srgbClr val="FF0000"/>
                </a:highlight>
              </a:rPr>
              <a:t>, </a:t>
            </a:r>
            <a:r>
              <a:rPr lang="en-US" sz="1400" dirty="0" err="1">
                <a:highlight>
                  <a:srgbClr val="FF0000"/>
                </a:highlight>
              </a:rPr>
              <a:t>Transaction_Price_Bemo_ParkingTime_Component</a:t>
            </a:r>
            <a:r>
              <a:rPr lang="en-US" sz="1400" dirty="0">
                <a:highlight>
                  <a:srgbClr val="FF0000"/>
                </a:highlight>
              </a:rPr>
              <a:t>, </a:t>
            </a:r>
            <a:r>
              <a:rPr lang="en-US" sz="1400" dirty="0" err="1">
                <a:highlight>
                  <a:srgbClr val="FF0000"/>
                </a:highlight>
              </a:rPr>
              <a:t>Transaction_Price_Bemo_Time_Component</a:t>
            </a:r>
            <a:r>
              <a:rPr lang="en-US" sz="1400" dirty="0">
                <a:highlight>
                  <a:srgbClr val="FF0000"/>
                </a:highlight>
              </a:rPr>
              <a:t>, </a:t>
            </a:r>
            <a:r>
              <a:rPr lang="en-US" sz="1400" dirty="0" err="1">
                <a:highlight>
                  <a:srgbClr val="FF0000"/>
                </a:highlight>
              </a:rPr>
              <a:t>Transaction_Price_Bemo_Estimation</a:t>
            </a:r>
            <a:r>
              <a:rPr lang="en-US" sz="1400" dirty="0">
                <a:highlight>
                  <a:srgbClr val="FF0000"/>
                </a:highlight>
              </a:rPr>
              <a:t> as ‘Raw’ parameters from our dataset. Your results from the </a:t>
            </a:r>
            <a:r>
              <a:rPr lang="en-US" sz="1400" dirty="0" err="1">
                <a:highlight>
                  <a:srgbClr val="FF0000"/>
                </a:highlight>
              </a:rPr>
              <a:t>Pricer</a:t>
            </a:r>
            <a:r>
              <a:rPr lang="en-US" sz="1400" dirty="0">
                <a:highlight>
                  <a:srgbClr val="FF0000"/>
                </a:highlight>
              </a:rPr>
              <a:t> are more reliable for this project because you have all the elements (inputs, controls, merge keys, </a:t>
            </a:r>
            <a:r>
              <a:rPr lang="en-US" sz="1400" dirty="0" err="1">
                <a:highlight>
                  <a:srgbClr val="FF0000"/>
                </a:highlight>
              </a:rPr>
              <a:t>etc</a:t>
            </a:r>
            <a:r>
              <a:rPr lang="en-US" sz="1400" dirty="0">
                <a:highlight>
                  <a:srgbClr val="FF0000"/>
                </a:highlight>
              </a:rPr>
              <a:t>…) needed for the computation. Normally they should be close from each other.</a:t>
            </a:r>
          </a:p>
          <a:p>
            <a:pPr marL="285750" indent="-285750">
              <a:buFont typeface="Arial" panose="020B0604020202020204" pitchFamily="34" charset="0"/>
              <a:buChar char="•"/>
            </a:pPr>
            <a:r>
              <a:rPr lang="en-US" sz="1400" dirty="0">
                <a:highlight>
                  <a:srgbClr val="FF0000"/>
                </a:highlight>
              </a:rPr>
              <a:t>Additional filters should be implemented in the notebook (for this vanilla version, I wrote on of them, up to you to complete it). See dedicated section about this topic in the notebook :</a:t>
            </a:r>
          </a:p>
        </p:txBody>
      </p:sp>
      <p:sp>
        <p:nvSpPr>
          <p:cNvPr id="6" name="Espace réservé du numéro de diapositive 5">
            <a:extLst>
              <a:ext uri="{FF2B5EF4-FFF2-40B4-BE49-F238E27FC236}">
                <a16:creationId xmlns:a16="http://schemas.microsoft.com/office/drawing/2014/main" id="{EC9D517D-70A7-51E5-CA4E-DCE743F41F1A}"/>
              </a:ext>
            </a:extLst>
          </p:cNvPr>
          <p:cNvSpPr>
            <a:spLocks noGrp="1"/>
          </p:cNvSpPr>
          <p:nvPr>
            <p:ph type="sldNum" sz="quarter" idx="18"/>
          </p:nvPr>
        </p:nvSpPr>
        <p:spPr/>
        <p:txBody>
          <a:bodyPr/>
          <a:lstStyle/>
          <a:p>
            <a:fld id="{E9F690C6-F4CD-4FC2-95DF-E832AE3B8C23}" type="slidenum">
              <a:rPr lang="fr-FR" smtClean="0"/>
              <a:pPr/>
              <a:t>12</a:t>
            </a:fld>
            <a:endParaRPr lang="fr-FR"/>
          </a:p>
        </p:txBody>
      </p:sp>
      <p:sp>
        <p:nvSpPr>
          <p:cNvPr id="12" name="Titre 1">
            <a:extLst>
              <a:ext uri="{FF2B5EF4-FFF2-40B4-BE49-F238E27FC236}">
                <a16:creationId xmlns:a16="http://schemas.microsoft.com/office/drawing/2014/main" id="{29EF7313-B3C8-73E8-2C61-44F8D2646C08}"/>
              </a:ext>
            </a:extLst>
          </p:cNvPr>
          <p:cNvSpPr>
            <a:spLocks noGrp="1"/>
          </p:cNvSpPr>
          <p:nvPr>
            <p:ph type="title"/>
          </p:nvPr>
        </p:nvSpPr>
        <p:spPr>
          <a:xfrm>
            <a:off x="874868" y="302393"/>
            <a:ext cx="9738335" cy="649922"/>
          </a:xfrm>
        </p:spPr>
        <p:txBody>
          <a:bodyPr vert="horz"/>
          <a:lstStyle/>
          <a:p>
            <a:r>
              <a:rPr lang="fr-FR" dirty="0"/>
              <a:t>Python </a:t>
            </a:r>
            <a:r>
              <a:rPr lang="fr-FR" dirty="0" err="1"/>
              <a:t>Json</a:t>
            </a:r>
            <a:r>
              <a:rPr lang="fr-FR" dirty="0"/>
              <a:t> body description</a:t>
            </a:r>
          </a:p>
        </p:txBody>
      </p:sp>
      <p:pic>
        <p:nvPicPr>
          <p:cNvPr id="21" name="Image 20">
            <a:extLst>
              <a:ext uri="{FF2B5EF4-FFF2-40B4-BE49-F238E27FC236}">
                <a16:creationId xmlns:a16="http://schemas.microsoft.com/office/drawing/2014/main" id="{C6AC9B60-2DC5-6187-46E1-D56224BBA2D6}"/>
              </a:ext>
            </a:extLst>
          </p:cNvPr>
          <p:cNvPicPr>
            <a:picLocks noChangeAspect="1"/>
          </p:cNvPicPr>
          <p:nvPr/>
        </p:nvPicPr>
        <p:blipFill>
          <a:blip r:embed="rId5"/>
          <a:stretch>
            <a:fillRect/>
          </a:stretch>
        </p:blipFill>
        <p:spPr>
          <a:xfrm>
            <a:off x="784579" y="1160045"/>
            <a:ext cx="6944694" cy="476316"/>
          </a:xfrm>
          <a:prstGeom prst="rect">
            <a:avLst/>
          </a:prstGeom>
        </p:spPr>
      </p:pic>
      <p:pic>
        <p:nvPicPr>
          <p:cNvPr id="3" name="Image 2">
            <a:extLst>
              <a:ext uri="{FF2B5EF4-FFF2-40B4-BE49-F238E27FC236}">
                <a16:creationId xmlns:a16="http://schemas.microsoft.com/office/drawing/2014/main" id="{BD9BDD05-F77D-FAD7-144D-DA9813CDD04F}"/>
              </a:ext>
            </a:extLst>
          </p:cNvPr>
          <p:cNvPicPr>
            <a:picLocks noChangeAspect="1"/>
          </p:cNvPicPr>
          <p:nvPr/>
        </p:nvPicPr>
        <p:blipFill rotWithShape="1">
          <a:blip r:embed="rId6"/>
          <a:srcRect b="37917"/>
          <a:stretch/>
        </p:blipFill>
        <p:spPr>
          <a:xfrm>
            <a:off x="874868" y="4414361"/>
            <a:ext cx="10700551" cy="1347247"/>
          </a:xfrm>
          <a:prstGeom prst="rect">
            <a:avLst/>
          </a:prstGeom>
        </p:spPr>
      </p:pic>
    </p:spTree>
    <p:extLst>
      <p:ext uri="{BB962C8B-B14F-4D97-AF65-F5344CB8AC3E}">
        <p14:creationId xmlns:p14="http://schemas.microsoft.com/office/powerpoint/2010/main" val="243059330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A691175-E3FF-7DC1-B541-0E7FF0C4A2B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95" imgH="394" progId="TCLayout.ActiveDocument.1">
                  <p:embed/>
                </p:oleObj>
              </mc:Choice>
              <mc:Fallback>
                <p:oleObj name="Diapositive think-cell" r:id="rId3" imgW="395" imgH="394" progId="TCLayout.ActiveDocument.1">
                  <p:embed/>
                  <p:pic>
                    <p:nvPicPr>
                      <p:cNvPr id="5" name="think-cell data - do not delete" hidden="1">
                        <a:extLst>
                          <a:ext uri="{FF2B5EF4-FFF2-40B4-BE49-F238E27FC236}">
                            <a16:creationId xmlns:a16="http://schemas.microsoft.com/office/drawing/2014/main" id="{0A691175-E3FF-7DC1-B541-0E7FF0C4A2B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E52B8373-62D1-544B-7A5C-41B622D6A38F}"/>
              </a:ext>
            </a:extLst>
          </p:cNvPr>
          <p:cNvSpPr>
            <a:spLocks noGrp="1"/>
          </p:cNvSpPr>
          <p:nvPr>
            <p:ph type="title"/>
          </p:nvPr>
        </p:nvSpPr>
        <p:spPr>
          <a:xfrm>
            <a:off x="874868" y="302393"/>
            <a:ext cx="9738335" cy="649922"/>
          </a:xfrm>
        </p:spPr>
        <p:txBody>
          <a:bodyPr vert="horz"/>
          <a:lstStyle/>
          <a:p>
            <a:r>
              <a:rPr lang="fr-FR" dirty="0"/>
              <a:t>Item 4.1 description</a:t>
            </a:r>
          </a:p>
        </p:txBody>
      </p:sp>
      <p:sp>
        <p:nvSpPr>
          <p:cNvPr id="4" name="Espace réservé du texte 3">
            <a:extLst>
              <a:ext uri="{FF2B5EF4-FFF2-40B4-BE49-F238E27FC236}">
                <a16:creationId xmlns:a16="http://schemas.microsoft.com/office/drawing/2014/main" id="{430F12B2-8A30-D6A2-6AC7-ABAE7B02E283}"/>
              </a:ext>
            </a:extLst>
          </p:cNvPr>
          <p:cNvSpPr>
            <a:spLocks noGrp="1"/>
          </p:cNvSpPr>
          <p:nvPr>
            <p:ph type="body" sz="quarter" idx="16"/>
          </p:nvPr>
        </p:nvSpPr>
        <p:spPr>
          <a:xfrm>
            <a:off x="677891" y="1325366"/>
            <a:ext cx="11156825" cy="3215812"/>
          </a:xfrm>
        </p:spPr>
        <p:txBody>
          <a:bodyPr/>
          <a:lstStyle/>
          <a:p>
            <a:pPr marL="228600" indent="-228600">
              <a:spcAft>
                <a:spcPts val="750"/>
              </a:spcAft>
              <a:buSzPts val="1000"/>
              <a:buFont typeface="Wingdings" panose="05000000000000000000" pitchFamily="2" charset="2"/>
              <a:buChar char=""/>
              <a:tabLst>
                <a:tab pos="1371600" algn="l"/>
              </a:tabLst>
            </a:pPr>
            <a:r>
              <a:rPr lang="fr-FR" sz="1400" dirty="0" err="1"/>
              <a:t>Purpose</a:t>
            </a:r>
            <a:r>
              <a:rPr lang="fr-FR" sz="1400" dirty="0"/>
              <a:t> : </a:t>
            </a:r>
            <a:r>
              <a:rPr lang="fr-FR" sz="1400" dirty="0" err="1">
                <a:solidFill>
                  <a:srgbClr val="1F1F1F"/>
                </a:solidFill>
                <a:cs typeface="Times New Roman" panose="02020603050405020304" pitchFamily="18" charset="0"/>
              </a:rPr>
              <a:t>Assessment</a:t>
            </a:r>
            <a:r>
              <a:rPr lang="fr-FR" sz="1400" dirty="0">
                <a:solidFill>
                  <a:srgbClr val="1F1F1F"/>
                </a:solidFill>
                <a:cs typeface="Times New Roman" panose="02020603050405020304" pitchFamily="18" charset="0"/>
              </a:rPr>
              <a:t> of </a:t>
            </a:r>
            <a:r>
              <a:rPr lang="fr-FR" sz="1400" dirty="0" err="1">
                <a:solidFill>
                  <a:srgbClr val="1F1F1F"/>
                </a:solidFill>
                <a:cs typeface="Times New Roman" panose="02020603050405020304" pitchFamily="18" charset="0"/>
              </a:rPr>
              <a:t>theoretical</a:t>
            </a:r>
            <a:r>
              <a:rPr lang="fr-FR" sz="1400" dirty="0">
                <a:solidFill>
                  <a:srgbClr val="1F1F1F"/>
                </a:solidFill>
                <a:cs typeface="Times New Roman" panose="02020603050405020304" pitchFamily="18" charset="0"/>
              </a:rPr>
              <a:t> formula vs </a:t>
            </a:r>
            <a:r>
              <a:rPr lang="fr-FR" sz="1400" dirty="0" err="1">
                <a:solidFill>
                  <a:srgbClr val="1F1F1F"/>
                </a:solidFill>
                <a:cs typeface="Times New Roman" panose="02020603050405020304" pitchFamily="18" charset="0"/>
              </a:rPr>
              <a:t>actual</a:t>
            </a:r>
            <a:r>
              <a:rPr lang="fr-FR" sz="1400" dirty="0">
                <a:solidFill>
                  <a:srgbClr val="1F1F1F"/>
                </a:solidFill>
                <a:cs typeface="Times New Roman" panose="02020603050405020304" pitchFamily="18" charset="0"/>
              </a:rPr>
              <a:t> </a:t>
            </a:r>
            <a:r>
              <a:rPr lang="fr-FR" sz="1400" dirty="0" err="1">
                <a:solidFill>
                  <a:srgbClr val="1F1F1F"/>
                </a:solidFill>
                <a:cs typeface="Times New Roman" panose="02020603050405020304" pitchFamily="18" charset="0"/>
              </a:rPr>
              <a:t>price</a:t>
            </a:r>
            <a:r>
              <a:rPr lang="fr-FR" sz="1400" dirty="0">
                <a:solidFill>
                  <a:srgbClr val="1F1F1F"/>
                </a:solidFill>
                <a:cs typeface="Times New Roman" panose="02020603050405020304" pitchFamily="18" charset="0"/>
              </a:rPr>
              <a:t>. </a:t>
            </a:r>
            <a:br>
              <a:rPr lang="fr-FR" sz="1400" dirty="0">
                <a:solidFill>
                  <a:srgbClr val="1F1F1F"/>
                </a:solidFill>
                <a:cs typeface="Times New Roman" panose="02020603050405020304" pitchFamily="18" charset="0"/>
              </a:rPr>
            </a:br>
            <a:r>
              <a:rPr lang="fr-FR" sz="1400" dirty="0">
                <a:solidFill>
                  <a:srgbClr val="1F1F1F"/>
                </a:solidFill>
                <a:effectLst/>
                <a:cs typeface="Times New Roman" panose="02020603050405020304" pitchFamily="18" charset="0"/>
              </a:rPr>
              <a:t>Batch computation to </a:t>
            </a:r>
            <a:r>
              <a:rPr lang="fr-FR" sz="1400" dirty="0" err="1">
                <a:solidFill>
                  <a:srgbClr val="1F1F1F"/>
                </a:solidFill>
                <a:effectLst/>
                <a:cs typeface="Times New Roman" panose="02020603050405020304" pitchFamily="18" charset="0"/>
              </a:rPr>
              <a:t>assess</a:t>
            </a:r>
            <a:r>
              <a:rPr lang="fr-FR" sz="1400" dirty="0">
                <a:solidFill>
                  <a:srgbClr val="1F1F1F"/>
                </a:solidFill>
                <a:effectLst/>
                <a:cs typeface="Times New Roman" panose="02020603050405020304" pitchFamily="18" charset="0"/>
              </a:rPr>
              <a:t> one CPO formula full </a:t>
            </a:r>
            <a:r>
              <a:rPr lang="fr-FR" sz="1400" dirty="0" err="1">
                <a:solidFill>
                  <a:srgbClr val="1F1F1F"/>
                </a:solidFill>
                <a:effectLst/>
                <a:cs typeface="Times New Roman" panose="02020603050405020304" pitchFamily="18" charset="0"/>
              </a:rPr>
              <a:t>domain</a:t>
            </a:r>
            <a:r>
              <a:rPr lang="fr-FR" sz="1400" dirty="0">
                <a:solidFill>
                  <a:srgbClr val="1F1F1F"/>
                </a:solidFill>
                <a:effectLst/>
                <a:cs typeface="Times New Roman" panose="02020603050405020304" pitchFamily="18" charset="0"/>
              </a:rPr>
              <a:t> </a:t>
            </a:r>
            <a:r>
              <a:rPr lang="fr-FR" sz="1400" dirty="0" err="1">
                <a:solidFill>
                  <a:srgbClr val="1F1F1F"/>
                </a:solidFill>
                <a:effectLst/>
                <a:cs typeface="Times New Roman" panose="02020603050405020304" pitchFamily="18" charset="0"/>
              </a:rPr>
              <a:t>using</a:t>
            </a:r>
            <a:r>
              <a:rPr lang="fr-FR" sz="1400" dirty="0">
                <a:solidFill>
                  <a:srgbClr val="1F1F1F"/>
                </a:solidFill>
                <a:effectLst/>
                <a:cs typeface="Times New Roman" panose="02020603050405020304" pitchFamily="18" charset="0"/>
              </a:rPr>
              <a:t> </a:t>
            </a:r>
            <a:r>
              <a:rPr lang="fr-FR" sz="1400" dirty="0" err="1">
                <a:solidFill>
                  <a:srgbClr val="1F1F1F"/>
                </a:solidFill>
                <a:effectLst/>
                <a:cs typeface="Times New Roman" panose="02020603050405020304" pitchFamily="18" charset="0"/>
              </a:rPr>
              <a:t>various</a:t>
            </a:r>
            <a:r>
              <a:rPr lang="fr-FR" sz="1400" dirty="0">
                <a:solidFill>
                  <a:srgbClr val="1F1F1F"/>
                </a:solidFill>
                <a:effectLst/>
                <a:cs typeface="Times New Roman" panose="02020603050405020304" pitchFamily="18" charset="0"/>
              </a:rPr>
              <a:t> </a:t>
            </a:r>
            <a:r>
              <a:rPr lang="fr-FR" sz="1400" dirty="0" err="1">
                <a:solidFill>
                  <a:srgbClr val="1F1F1F"/>
                </a:solidFill>
                <a:effectLst/>
                <a:cs typeface="Times New Roman" panose="02020603050405020304" pitchFamily="18" charset="0"/>
              </a:rPr>
              <a:t>consuming</a:t>
            </a:r>
            <a:r>
              <a:rPr lang="fr-FR" sz="1400" dirty="0">
                <a:solidFill>
                  <a:srgbClr val="1F1F1F"/>
                </a:solidFill>
                <a:effectLst/>
                <a:cs typeface="Times New Roman" panose="02020603050405020304" pitchFamily="18" charset="0"/>
              </a:rPr>
              <a:t> </a:t>
            </a:r>
            <a:r>
              <a:rPr lang="fr-FR" sz="1400" dirty="0" err="1">
                <a:solidFill>
                  <a:srgbClr val="1F1F1F"/>
                </a:solidFill>
                <a:effectLst/>
                <a:cs typeface="Times New Roman" panose="02020603050405020304" pitchFamily="18" charset="0"/>
              </a:rPr>
              <a:t>schemes</a:t>
            </a:r>
            <a:r>
              <a:rPr lang="fr-FR" sz="1400" dirty="0">
                <a:solidFill>
                  <a:srgbClr val="1F1F1F"/>
                </a:solidFill>
                <a:cs typeface="Times New Roman" panose="02020603050405020304" pitchFamily="18" charset="0"/>
              </a:rPr>
              <a:t>. </a:t>
            </a:r>
          </a:p>
          <a:p>
            <a:pPr lvl="1"/>
            <a:endParaRPr lang="fr-FR" sz="1400" dirty="0"/>
          </a:p>
          <a:p>
            <a:pPr marL="285750" indent="-285750">
              <a:buFont typeface="Arial" panose="020B0604020202020204" pitchFamily="34" charset="0"/>
              <a:buChar char="•"/>
            </a:pPr>
            <a:r>
              <a:rPr lang="fr-FR" sz="1400" dirty="0"/>
              <a:t>Informative </a:t>
            </a:r>
            <a:r>
              <a:rPr lang="fr-FR" sz="1400" dirty="0" err="1"/>
              <a:t>schedule</a:t>
            </a:r>
            <a:r>
              <a:rPr lang="fr-FR" sz="1400" dirty="0"/>
              <a:t> : May 1st to June 15th</a:t>
            </a:r>
          </a:p>
          <a:p>
            <a:pPr marL="285750" indent="-285750">
              <a:buFont typeface="Arial" panose="020B0604020202020204" pitchFamily="34" charset="0"/>
              <a:buChar char="•"/>
            </a:pPr>
            <a:endParaRPr lang="fr-FR" sz="1400" dirty="0"/>
          </a:p>
          <a:p>
            <a:pPr marL="285750" indent="-285750">
              <a:buFont typeface="Arial" panose="020B0604020202020204" pitchFamily="34" charset="0"/>
              <a:buChar char="•"/>
            </a:pPr>
            <a:r>
              <a:rPr lang="fr-FR" sz="1400" dirty="0" err="1"/>
              <a:t>Available</a:t>
            </a:r>
            <a:r>
              <a:rPr lang="fr-FR" sz="1400" dirty="0"/>
              <a:t> </a:t>
            </a:r>
            <a:r>
              <a:rPr lang="fr-FR" sz="1400" dirty="0" err="1"/>
              <a:t>datasets</a:t>
            </a:r>
            <a:r>
              <a:rPr lang="fr-FR" sz="1400" dirty="0"/>
              <a:t> and </a:t>
            </a:r>
            <a:r>
              <a:rPr lang="fr-FR" sz="1400" dirty="0" err="1"/>
              <a:t>resources</a:t>
            </a:r>
            <a:r>
              <a:rPr lang="fr-FR" sz="1400" dirty="0"/>
              <a:t> :</a:t>
            </a:r>
          </a:p>
          <a:p>
            <a:pPr marL="742950" lvl="1" indent="-285750">
              <a:buFont typeface="Arial" panose="020B0604020202020204" pitchFamily="34" charset="0"/>
              <a:buChar char="•"/>
            </a:pPr>
            <a:r>
              <a:rPr lang="fr-FR" sz="1400" b="1" dirty="0">
                <a:solidFill>
                  <a:srgbClr val="FF0000"/>
                </a:solidFill>
              </a:rPr>
              <a:t>All </a:t>
            </a:r>
            <a:r>
              <a:rPr lang="fr-FR" sz="1400" b="1" dirty="0" err="1">
                <a:solidFill>
                  <a:srgbClr val="FF0000"/>
                </a:solidFill>
              </a:rPr>
              <a:t>datasets</a:t>
            </a:r>
            <a:r>
              <a:rPr lang="fr-FR" sz="1400" b="1" dirty="0">
                <a:solidFill>
                  <a:srgbClr val="FF0000"/>
                </a:solidFill>
              </a:rPr>
              <a:t> (transactions, EVSE and </a:t>
            </a:r>
            <a:r>
              <a:rPr lang="fr-FR" sz="1400" b="1" dirty="0" err="1">
                <a:solidFill>
                  <a:srgbClr val="FF0000"/>
                </a:solidFill>
              </a:rPr>
              <a:t>tariff</a:t>
            </a:r>
            <a:r>
              <a:rPr lang="fr-FR" sz="1400" b="1" dirty="0">
                <a:solidFill>
                  <a:srgbClr val="FF0000"/>
                </a:solidFill>
              </a:rPr>
              <a:t> formula) must </a:t>
            </a:r>
            <a:r>
              <a:rPr lang="fr-FR" sz="1400" b="1" dirty="0" err="1">
                <a:solidFill>
                  <a:srgbClr val="FF0000"/>
                </a:solidFill>
              </a:rPr>
              <a:t>be</a:t>
            </a:r>
            <a:r>
              <a:rPr lang="fr-FR" sz="1400" b="1" dirty="0">
                <a:solidFill>
                  <a:srgbClr val="FF0000"/>
                </a:solidFill>
              </a:rPr>
              <a:t> </a:t>
            </a:r>
            <a:r>
              <a:rPr lang="fr-FR" sz="1400" b="1" dirty="0" err="1">
                <a:solidFill>
                  <a:srgbClr val="FF0000"/>
                </a:solidFill>
              </a:rPr>
              <a:t>filtered</a:t>
            </a:r>
            <a:r>
              <a:rPr lang="fr-FR" sz="1400" b="1" dirty="0">
                <a:solidFill>
                  <a:srgbClr val="FF0000"/>
                </a:solidFill>
              </a:rPr>
              <a:t> for </a:t>
            </a:r>
            <a:r>
              <a:rPr lang="fr-FR" sz="1400" b="1" dirty="0" err="1">
                <a:solidFill>
                  <a:srgbClr val="FF0000"/>
                </a:solidFill>
              </a:rPr>
              <a:t>theses</a:t>
            </a:r>
            <a:r>
              <a:rPr lang="fr-FR" sz="1400" b="1" dirty="0">
                <a:solidFill>
                  <a:srgbClr val="FF0000"/>
                </a:solidFill>
              </a:rPr>
              <a:t> conditions : country = NL and FR ; Back end </a:t>
            </a:r>
            <a:r>
              <a:rPr lang="fr-FR" sz="1400" b="1" dirty="0" err="1">
                <a:solidFill>
                  <a:srgbClr val="FF0000"/>
                </a:solidFill>
              </a:rPr>
              <a:t>operator</a:t>
            </a:r>
            <a:r>
              <a:rPr lang="fr-FR" sz="1400" b="1" dirty="0">
                <a:solidFill>
                  <a:srgbClr val="FF0000"/>
                </a:solidFill>
              </a:rPr>
              <a:t> = LMS and </a:t>
            </a:r>
            <a:r>
              <a:rPr lang="fr-FR" sz="1400" b="1" dirty="0" err="1">
                <a:solidFill>
                  <a:srgbClr val="FF0000"/>
                </a:solidFill>
              </a:rPr>
              <a:t>TotalEnergies</a:t>
            </a:r>
            <a:r>
              <a:rPr lang="fr-FR" sz="1400" b="1" dirty="0">
                <a:solidFill>
                  <a:srgbClr val="FF0000"/>
                </a:solidFill>
              </a:rPr>
              <a:t>.</a:t>
            </a:r>
          </a:p>
          <a:p>
            <a:pPr marL="742950" lvl="1" indent="-285750">
              <a:buFont typeface="Arial" panose="020B0604020202020204" pitchFamily="34" charset="0"/>
              <a:buChar char="•"/>
            </a:pPr>
            <a:r>
              <a:rPr lang="fr-FR" sz="1400" dirty="0" err="1"/>
              <a:t>Same</a:t>
            </a:r>
            <a:r>
              <a:rPr lang="fr-FR" sz="1400" dirty="0"/>
              <a:t> </a:t>
            </a:r>
            <a:r>
              <a:rPr lang="fr-FR" sz="1400" dirty="0" err="1"/>
              <a:t>datasets</a:t>
            </a:r>
            <a:r>
              <a:rPr lang="fr-FR" sz="1400" dirty="0"/>
              <a:t> </a:t>
            </a:r>
            <a:r>
              <a:rPr lang="fr-FR" sz="1400" dirty="0" err="1"/>
              <a:t>provided</a:t>
            </a:r>
            <a:r>
              <a:rPr lang="fr-FR" sz="1400" dirty="0"/>
              <a:t> in Item 3 folder</a:t>
            </a:r>
          </a:p>
          <a:p>
            <a:pPr marL="742950" lvl="1" indent="-285750">
              <a:buFont typeface="Arial" panose="020B0604020202020204" pitchFamily="34" charset="0"/>
              <a:buChar char="•"/>
            </a:pPr>
            <a:r>
              <a:rPr lang="en-US" sz="1400" dirty="0"/>
              <a:t>“</a:t>
            </a:r>
            <a:r>
              <a:rPr lang="en-US" sz="1400" dirty="0" err="1"/>
              <a:t>Average_purchasing_cart</a:t>
            </a:r>
            <a:r>
              <a:rPr lang="fr-FR" sz="1400" dirty="0"/>
              <a:t>.csv</a:t>
            </a:r>
            <a:r>
              <a:rPr lang="en-US" sz="1400" dirty="0"/>
              <a:t>”</a:t>
            </a:r>
            <a:r>
              <a:rPr lang="fr-FR" sz="1400" dirty="0"/>
              <a:t> : </a:t>
            </a:r>
            <a:r>
              <a:rPr lang="fr-FR" sz="1400" dirty="0" err="1"/>
              <a:t>average</a:t>
            </a:r>
            <a:r>
              <a:rPr lang="fr-FR" sz="1400" dirty="0"/>
              <a:t> data (</a:t>
            </a:r>
            <a:r>
              <a:rPr lang="fr-FR" sz="1400" dirty="0" err="1"/>
              <a:t>consider</a:t>
            </a:r>
            <a:r>
              <a:rPr lang="fr-FR" sz="1400" dirty="0"/>
              <a:t> </a:t>
            </a:r>
            <a:r>
              <a:rPr lang="fr-FR" sz="1400" dirty="0" err="1"/>
              <a:t>charging</a:t>
            </a:r>
            <a:r>
              <a:rPr lang="fr-FR" sz="1400" dirty="0"/>
              <a:t> </a:t>
            </a:r>
            <a:r>
              <a:rPr lang="fr-FR" sz="1400" dirty="0" err="1"/>
              <a:t>quantity</a:t>
            </a:r>
            <a:r>
              <a:rPr lang="fr-FR" sz="1400" dirty="0"/>
              <a:t> and session duration) to </a:t>
            </a:r>
            <a:r>
              <a:rPr lang="fr-FR" sz="1400" dirty="0" err="1"/>
              <a:t>inject</a:t>
            </a:r>
            <a:r>
              <a:rPr lang="fr-FR" sz="1400" dirty="0"/>
              <a:t> in a </a:t>
            </a:r>
            <a:r>
              <a:rPr lang="fr-FR" sz="1400" dirty="0" err="1"/>
              <a:t>request</a:t>
            </a:r>
            <a:r>
              <a:rPr lang="fr-FR" sz="1400" dirty="0"/>
              <a:t> to </a:t>
            </a:r>
            <a:r>
              <a:rPr lang="fr-FR" sz="1400" dirty="0" err="1"/>
              <a:t>Bemo</a:t>
            </a:r>
            <a:r>
              <a:rPr lang="fr-FR" sz="1400" dirty="0"/>
              <a:t> </a:t>
            </a:r>
            <a:r>
              <a:rPr lang="fr-FR" sz="1400" dirty="0" err="1"/>
              <a:t>pricer</a:t>
            </a:r>
            <a:r>
              <a:rPr lang="fr-FR" sz="1400" dirty="0"/>
              <a:t>.</a:t>
            </a:r>
          </a:p>
          <a:p>
            <a:pPr marL="742950" lvl="1" indent="-285750">
              <a:buFont typeface="Arial" panose="020B0604020202020204" pitchFamily="34" charset="0"/>
              <a:buChar char="•"/>
            </a:pPr>
            <a:endParaRPr lang="en-US" sz="1400" dirty="0"/>
          </a:p>
        </p:txBody>
      </p:sp>
      <p:sp>
        <p:nvSpPr>
          <p:cNvPr id="6" name="Espace réservé du numéro de diapositive 5">
            <a:extLst>
              <a:ext uri="{FF2B5EF4-FFF2-40B4-BE49-F238E27FC236}">
                <a16:creationId xmlns:a16="http://schemas.microsoft.com/office/drawing/2014/main" id="{EC9D517D-70A7-51E5-CA4E-DCE743F41F1A}"/>
              </a:ext>
            </a:extLst>
          </p:cNvPr>
          <p:cNvSpPr>
            <a:spLocks noGrp="1"/>
          </p:cNvSpPr>
          <p:nvPr>
            <p:ph type="sldNum" sz="quarter" idx="18"/>
          </p:nvPr>
        </p:nvSpPr>
        <p:spPr/>
        <p:txBody>
          <a:bodyPr/>
          <a:lstStyle/>
          <a:p>
            <a:fld id="{E9F690C6-F4CD-4FC2-95DF-E832AE3B8C23}" type="slidenum">
              <a:rPr lang="fr-FR" smtClean="0"/>
              <a:pPr/>
              <a:t>13</a:t>
            </a:fld>
            <a:endParaRPr lang="fr-FR"/>
          </a:p>
        </p:txBody>
      </p:sp>
    </p:spTree>
    <p:extLst>
      <p:ext uri="{BB962C8B-B14F-4D97-AF65-F5344CB8AC3E}">
        <p14:creationId xmlns:p14="http://schemas.microsoft.com/office/powerpoint/2010/main" val="70097662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A691175-E3FF-7DC1-B541-0E7FF0C4A2B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95" imgH="394" progId="TCLayout.ActiveDocument.1">
                  <p:embed/>
                </p:oleObj>
              </mc:Choice>
              <mc:Fallback>
                <p:oleObj name="Diapositive think-cell" r:id="rId3" imgW="395" imgH="394" progId="TCLayout.ActiveDocument.1">
                  <p:embed/>
                  <p:pic>
                    <p:nvPicPr>
                      <p:cNvPr id="5" name="think-cell data - do not delete" hidden="1">
                        <a:extLst>
                          <a:ext uri="{FF2B5EF4-FFF2-40B4-BE49-F238E27FC236}">
                            <a16:creationId xmlns:a16="http://schemas.microsoft.com/office/drawing/2014/main" id="{0A691175-E3FF-7DC1-B541-0E7FF0C4A2B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Espace réservé du texte 3">
            <a:extLst>
              <a:ext uri="{FF2B5EF4-FFF2-40B4-BE49-F238E27FC236}">
                <a16:creationId xmlns:a16="http://schemas.microsoft.com/office/drawing/2014/main" id="{430F12B2-8A30-D6A2-6AC7-ABAE7B02E283}"/>
              </a:ext>
            </a:extLst>
          </p:cNvPr>
          <p:cNvSpPr>
            <a:spLocks noGrp="1"/>
          </p:cNvSpPr>
          <p:nvPr>
            <p:ph type="body" sz="quarter" idx="16"/>
          </p:nvPr>
        </p:nvSpPr>
        <p:spPr>
          <a:xfrm>
            <a:off x="677891" y="289625"/>
            <a:ext cx="11156825" cy="5931377"/>
          </a:xfrm>
        </p:spPr>
        <p:txBody>
          <a:bodyPr/>
          <a:lstStyle/>
          <a:p>
            <a:pPr marL="285750" indent="-285750">
              <a:buFont typeface="Arial" panose="020B0604020202020204" pitchFamily="34" charset="0"/>
              <a:buChar char="•"/>
            </a:pPr>
            <a:r>
              <a:rPr lang="en-US" sz="1400" dirty="0"/>
              <a:t>Explained tasks : </a:t>
            </a:r>
          </a:p>
          <a:p>
            <a:pPr marL="742950" lvl="1" indent="-285750">
              <a:buFont typeface="Arial" panose="020B0604020202020204" pitchFamily="34" charset="0"/>
              <a:buChar char="•"/>
            </a:pPr>
            <a:r>
              <a:rPr lang="en-US" sz="1400" dirty="0"/>
              <a:t>For a given CPO formula, first launch a batch computation exploring duration and quantity from a min to a max (these values are deducted from related past transactions) and then compare it to actual price from past transactions related to this CPO formula AND to the related average consuming scheme. It is a comparison of theoretical and actual to evaluate whether prices are always in a core target of CPO price formula or may vary according their update policy. </a:t>
            </a:r>
          </a:p>
          <a:p>
            <a:pPr marL="742950" lvl="1" indent="-285750">
              <a:buFont typeface="Arial" panose="020B0604020202020204" pitchFamily="34" charset="0"/>
              <a:buChar char="•"/>
            </a:pPr>
            <a:r>
              <a:rPr lang="en-US" sz="1400" dirty="0"/>
              <a:t>Caution : pas transactions taken for comparison must be related to the CPO price formula (in terms of power segments, dates and CPO/EVSE codes). Average consuming scheme are attached in the folder and can be inject for all price formula (whatever country and Backend operator…).</a:t>
            </a:r>
          </a:p>
          <a:p>
            <a:pPr marL="742950" lvl="1" indent="-285750">
              <a:buFont typeface="Arial" panose="020B0604020202020204" pitchFamily="34" charset="0"/>
              <a:buChar char="•"/>
            </a:pPr>
            <a:r>
              <a:rPr lang="fr-FR" sz="1400" dirty="0" err="1"/>
              <a:t>Choose</a:t>
            </a:r>
            <a:r>
              <a:rPr lang="fr-FR" sz="1400" dirty="0"/>
              <a:t> the CPO formula code </a:t>
            </a:r>
            <a:r>
              <a:rPr lang="fr-FR" sz="1400" dirty="0" err="1"/>
              <a:t>taking</a:t>
            </a:r>
            <a:r>
              <a:rPr lang="fr-FR" sz="1400" dirty="0"/>
              <a:t> </a:t>
            </a:r>
            <a:r>
              <a:rPr lang="fr-FR" sz="1400" dirty="0" err="1"/>
              <a:t>into</a:t>
            </a:r>
            <a:r>
              <a:rPr lang="fr-FR" sz="1400" dirty="0"/>
              <a:t> </a:t>
            </a:r>
            <a:r>
              <a:rPr lang="fr-FR" sz="1400" dirty="0" err="1"/>
              <a:t>account</a:t>
            </a:r>
            <a:r>
              <a:rPr lang="fr-FR" sz="1400" dirty="0"/>
              <a:t> </a:t>
            </a:r>
            <a:r>
              <a:rPr lang="fr-FR" sz="1400" dirty="0" err="1"/>
              <a:t>enough</a:t>
            </a:r>
            <a:r>
              <a:rPr lang="fr-FR" sz="1400" dirty="0"/>
              <a:t> </a:t>
            </a:r>
            <a:r>
              <a:rPr lang="fr-FR" sz="1400" dirty="0" err="1"/>
              <a:t>past</a:t>
            </a:r>
            <a:r>
              <a:rPr lang="fr-FR" sz="1400" dirty="0"/>
              <a:t> transactions to compare </a:t>
            </a:r>
            <a:r>
              <a:rPr lang="fr-FR" sz="1400" dirty="0" err="1"/>
              <a:t>with</a:t>
            </a:r>
            <a:r>
              <a:rPr lang="fr-FR" sz="1400" dirty="0"/>
              <a:t>. All data (CPO </a:t>
            </a:r>
            <a:r>
              <a:rPr lang="fr-FR" sz="1400" dirty="0" err="1"/>
              <a:t>price</a:t>
            </a:r>
            <a:r>
              <a:rPr lang="fr-FR" sz="1400" dirty="0"/>
              <a:t> formula and </a:t>
            </a:r>
            <a:r>
              <a:rPr lang="fr-FR" sz="1400" dirty="0" err="1"/>
              <a:t>past</a:t>
            </a:r>
            <a:r>
              <a:rPr lang="fr-FR" sz="1400" dirty="0"/>
              <a:t> transactions) must </a:t>
            </a:r>
            <a:r>
              <a:rPr lang="fr-FR" sz="1400" dirty="0" err="1"/>
              <a:t>refer</a:t>
            </a:r>
            <a:r>
              <a:rPr lang="fr-FR" sz="1400" dirty="0"/>
              <a:t> to a unique CPO code to </a:t>
            </a:r>
            <a:r>
              <a:rPr lang="fr-FR" sz="1400" dirty="0" err="1"/>
              <a:t>simplify</a:t>
            </a:r>
            <a:r>
              <a:rPr lang="fr-FR" sz="1400" dirty="0"/>
              <a:t> the </a:t>
            </a:r>
            <a:r>
              <a:rPr lang="fr-FR" sz="1400" dirty="0" err="1"/>
              <a:t>study</a:t>
            </a:r>
            <a:r>
              <a:rPr lang="fr-FR" sz="1400" dirty="0"/>
              <a:t> : f</a:t>
            </a:r>
            <a:r>
              <a:rPr lang="en-US" sz="1400" dirty="0"/>
              <a:t>or instance FR*V75 and  NL*LMS.</a:t>
            </a:r>
          </a:p>
          <a:p>
            <a:pPr marL="742950" lvl="1" indent="-285750">
              <a:buFont typeface="Arial" panose="020B0604020202020204" pitchFamily="34" charset="0"/>
              <a:buChar char="•"/>
            </a:pPr>
            <a:r>
              <a:rPr lang="en-US" sz="1400" dirty="0"/>
              <a:t>Repeat this scheme for a price formula (belonging to the same CPO code) at another date.</a:t>
            </a:r>
          </a:p>
          <a:p>
            <a:pPr marL="742950" lvl="1" indent="-285750">
              <a:buFont typeface="Arial" panose="020B0604020202020204" pitchFamily="34" charset="0"/>
              <a:buChar char="•"/>
            </a:pPr>
            <a:r>
              <a:rPr lang="en-US" sz="1400" dirty="0"/>
              <a:t>Compare all results in a duration-quantity-price-date view using numerical and graphic displays.</a:t>
            </a:r>
          </a:p>
          <a:p>
            <a:pPr marL="742950" lvl="1" indent="-285750">
              <a:buFont typeface="Arial" panose="020B0604020202020204" pitchFamily="34" charset="0"/>
              <a:buChar char="•"/>
            </a:pPr>
            <a:endParaRPr lang="en-US" sz="1400" dirty="0"/>
          </a:p>
          <a:p>
            <a:pPr marL="742950" lvl="1" indent="-285750">
              <a:buFont typeface="Arial" panose="020B0604020202020204" pitchFamily="34" charset="0"/>
              <a:buChar char="•"/>
            </a:pPr>
            <a:r>
              <a:rPr lang="en-US" sz="1400" dirty="0"/>
              <a:t>In a nutshell the degrees of freedom handle with Country - Backend operator (2), Power segments / Average schemes (4) and price formula dates (2).</a:t>
            </a:r>
          </a:p>
          <a:p>
            <a:pPr marL="742950" lvl="1" indent="-285750">
              <a:buFont typeface="Arial" panose="020B0604020202020204" pitchFamily="34" charset="0"/>
              <a:buChar char="•"/>
            </a:pPr>
            <a:endParaRPr lang="en-US" sz="1400" dirty="0"/>
          </a:p>
          <a:p>
            <a:pPr marL="742950" lvl="1" indent="-285750">
              <a:buFont typeface="Arial" panose="020B0604020202020204" pitchFamily="34" charset="0"/>
              <a:buChar char="•"/>
            </a:pPr>
            <a:endParaRPr lang="en-US" sz="1400" dirty="0"/>
          </a:p>
          <a:p>
            <a:pPr marL="742950" lvl="1" indent="-285750">
              <a:buFont typeface="Arial" panose="020B0604020202020204" pitchFamily="34" charset="0"/>
              <a:buChar char="•"/>
            </a:pPr>
            <a:r>
              <a:rPr lang="en-US" sz="1400" dirty="0"/>
              <a:t>Here is given a simple calculation for a naïve scheme based on 2h and 36 kWh </a:t>
            </a:r>
          </a:p>
          <a:p>
            <a:pPr lvl="1"/>
            <a:r>
              <a:rPr lang="en-US" sz="1400" dirty="0"/>
              <a:t>Injected in the </a:t>
            </a:r>
            <a:r>
              <a:rPr lang="en-US" sz="1400" dirty="0" err="1"/>
              <a:t>Bemo</a:t>
            </a:r>
            <a:r>
              <a:rPr lang="en-US" sz="1400" dirty="0"/>
              <a:t> </a:t>
            </a:r>
            <a:r>
              <a:rPr lang="en-US" sz="1400" dirty="0" err="1"/>
              <a:t>pricer</a:t>
            </a:r>
            <a:r>
              <a:rPr lang="en-US" sz="1400" dirty="0"/>
              <a:t>.</a:t>
            </a:r>
          </a:p>
        </p:txBody>
      </p:sp>
      <p:sp>
        <p:nvSpPr>
          <p:cNvPr id="6" name="Espace réservé du numéro de diapositive 5">
            <a:extLst>
              <a:ext uri="{FF2B5EF4-FFF2-40B4-BE49-F238E27FC236}">
                <a16:creationId xmlns:a16="http://schemas.microsoft.com/office/drawing/2014/main" id="{EC9D517D-70A7-51E5-CA4E-DCE743F41F1A}"/>
              </a:ext>
            </a:extLst>
          </p:cNvPr>
          <p:cNvSpPr>
            <a:spLocks noGrp="1"/>
          </p:cNvSpPr>
          <p:nvPr>
            <p:ph type="sldNum" sz="quarter" idx="18"/>
          </p:nvPr>
        </p:nvSpPr>
        <p:spPr/>
        <p:txBody>
          <a:bodyPr/>
          <a:lstStyle/>
          <a:p>
            <a:fld id="{E9F690C6-F4CD-4FC2-95DF-E832AE3B8C23}" type="slidenum">
              <a:rPr lang="fr-FR" smtClean="0"/>
              <a:pPr/>
              <a:t>14</a:t>
            </a:fld>
            <a:endParaRPr lang="fr-FR"/>
          </a:p>
        </p:txBody>
      </p:sp>
      <p:pic>
        <p:nvPicPr>
          <p:cNvPr id="8" name="Image 7">
            <a:extLst>
              <a:ext uri="{FF2B5EF4-FFF2-40B4-BE49-F238E27FC236}">
                <a16:creationId xmlns:a16="http://schemas.microsoft.com/office/drawing/2014/main" id="{4CB4801E-B1BD-22FE-50C1-F2B96CEC1E8F}"/>
              </a:ext>
            </a:extLst>
          </p:cNvPr>
          <p:cNvPicPr>
            <a:picLocks noChangeAspect="1"/>
          </p:cNvPicPr>
          <p:nvPr/>
        </p:nvPicPr>
        <p:blipFill>
          <a:blip r:embed="rId5"/>
          <a:stretch>
            <a:fillRect/>
          </a:stretch>
        </p:blipFill>
        <p:spPr>
          <a:xfrm>
            <a:off x="8030968" y="3644759"/>
            <a:ext cx="4161032" cy="3213241"/>
          </a:xfrm>
          <a:prstGeom prst="rect">
            <a:avLst/>
          </a:prstGeom>
        </p:spPr>
      </p:pic>
    </p:spTree>
    <p:extLst>
      <p:ext uri="{BB962C8B-B14F-4D97-AF65-F5344CB8AC3E}">
        <p14:creationId xmlns:p14="http://schemas.microsoft.com/office/powerpoint/2010/main" val="21367959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A691175-E3FF-7DC1-B541-0E7FF0C4A2B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95" imgH="394" progId="TCLayout.ActiveDocument.1">
                  <p:embed/>
                </p:oleObj>
              </mc:Choice>
              <mc:Fallback>
                <p:oleObj name="Diapositive think-cell" r:id="rId3" imgW="395" imgH="394" progId="TCLayout.ActiveDocument.1">
                  <p:embed/>
                  <p:pic>
                    <p:nvPicPr>
                      <p:cNvPr id="5" name="think-cell data - do not delete" hidden="1">
                        <a:extLst>
                          <a:ext uri="{FF2B5EF4-FFF2-40B4-BE49-F238E27FC236}">
                            <a16:creationId xmlns:a16="http://schemas.microsoft.com/office/drawing/2014/main" id="{0A691175-E3FF-7DC1-B541-0E7FF0C4A2B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E52B8373-62D1-544B-7A5C-41B622D6A38F}"/>
              </a:ext>
            </a:extLst>
          </p:cNvPr>
          <p:cNvSpPr>
            <a:spLocks noGrp="1"/>
          </p:cNvSpPr>
          <p:nvPr>
            <p:ph type="title"/>
          </p:nvPr>
        </p:nvSpPr>
        <p:spPr>
          <a:xfrm>
            <a:off x="874868" y="302393"/>
            <a:ext cx="9738335" cy="649922"/>
          </a:xfrm>
        </p:spPr>
        <p:txBody>
          <a:bodyPr vert="horz"/>
          <a:lstStyle/>
          <a:p>
            <a:r>
              <a:rPr lang="fr-FR" dirty="0"/>
              <a:t>Item 4.2 description</a:t>
            </a:r>
          </a:p>
        </p:txBody>
      </p:sp>
      <p:sp>
        <p:nvSpPr>
          <p:cNvPr id="4" name="Espace réservé du texte 3">
            <a:extLst>
              <a:ext uri="{FF2B5EF4-FFF2-40B4-BE49-F238E27FC236}">
                <a16:creationId xmlns:a16="http://schemas.microsoft.com/office/drawing/2014/main" id="{430F12B2-8A30-D6A2-6AC7-ABAE7B02E283}"/>
              </a:ext>
            </a:extLst>
          </p:cNvPr>
          <p:cNvSpPr>
            <a:spLocks noGrp="1"/>
          </p:cNvSpPr>
          <p:nvPr>
            <p:ph type="body" sz="quarter" idx="16"/>
          </p:nvPr>
        </p:nvSpPr>
        <p:spPr>
          <a:xfrm>
            <a:off x="677891" y="1325366"/>
            <a:ext cx="11156825" cy="3215812"/>
          </a:xfrm>
        </p:spPr>
        <p:txBody>
          <a:bodyPr/>
          <a:lstStyle/>
          <a:p>
            <a:pPr marL="228600" indent="-228600">
              <a:spcAft>
                <a:spcPts val="750"/>
              </a:spcAft>
              <a:buSzPts val="1000"/>
              <a:buFont typeface="Wingdings" panose="05000000000000000000" pitchFamily="2" charset="2"/>
              <a:buChar char=""/>
              <a:tabLst>
                <a:tab pos="1371600" algn="l"/>
              </a:tabLst>
            </a:pPr>
            <a:r>
              <a:rPr lang="fr-FR" sz="1400" dirty="0" err="1"/>
              <a:t>Purpose</a:t>
            </a:r>
            <a:r>
              <a:rPr lang="fr-FR" sz="1400" dirty="0"/>
              <a:t> : </a:t>
            </a:r>
            <a:r>
              <a:rPr lang="fr-FR" sz="1400" dirty="0">
                <a:solidFill>
                  <a:srgbClr val="1F1F1F"/>
                </a:solidFill>
                <a:effectLst/>
                <a:cs typeface="Times New Roman" panose="02020603050405020304" pitchFamily="18" charset="0"/>
              </a:rPr>
              <a:t>Batch computation to </a:t>
            </a:r>
            <a:r>
              <a:rPr lang="fr-FR" sz="1400" dirty="0" err="1">
                <a:solidFill>
                  <a:srgbClr val="1F1F1F"/>
                </a:solidFill>
                <a:effectLst/>
                <a:cs typeface="Times New Roman" panose="02020603050405020304" pitchFamily="18" charset="0"/>
              </a:rPr>
              <a:t>assess</a:t>
            </a:r>
            <a:r>
              <a:rPr lang="fr-FR" sz="1400" dirty="0">
                <a:solidFill>
                  <a:srgbClr val="1F1F1F"/>
                </a:solidFill>
                <a:effectLst/>
                <a:cs typeface="Times New Roman" panose="02020603050405020304" pitchFamily="18" charset="0"/>
              </a:rPr>
              <a:t> one </a:t>
            </a:r>
            <a:r>
              <a:rPr lang="fr-FR" sz="1400" dirty="0" err="1">
                <a:solidFill>
                  <a:srgbClr val="1F1F1F"/>
                </a:solidFill>
                <a:effectLst/>
                <a:cs typeface="Times New Roman" panose="02020603050405020304" pitchFamily="18" charset="0"/>
              </a:rPr>
              <a:t>consuming</a:t>
            </a:r>
            <a:r>
              <a:rPr lang="fr-FR" sz="1400" dirty="0">
                <a:solidFill>
                  <a:srgbClr val="1F1F1F"/>
                </a:solidFill>
                <a:effectLst/>
                <a:cs typeface="Times New Roman" panose="02020603050405020304" pitchFamily="18" charset="0"/>
              </a:rPr>
              <a:t> </a:t>
            </a:r>
            <a:r>
              <a:rPr lang="fr-FR" sz="1400" dirty="0" err="1">
                <a:solidFill>
                  <a:srgbClr val="1F1F1F"/>
                </a:solidFill>
                <a:effectLst/>
                <a:cs typeface="Times New Roman" panose="02020603050405020304" pitchFamily="18" charset="0"/>
              </a:rPr>
              <a:t>scheme</a:t>
            </a:r>
            <a:r>
              <a:rPr lang="fr-FR" sz="1400" dirty="0">
                <a:solidFill>
                  <a:srgbClr val="1F1F1F"/>
                </a:solidFill>
                <a:effectLst/>
                <a:cs typeface="Times New Roman" panose="02020603050405020304" pitchFamily="18" charset="0"/>
              </a:rPr>
              <a:t> (</a:t>
            </a:r>
            <a:r>
              <a:rPr lang="fr-FR" sz="1400" dirty="0" err="1">
                <a:solidFill>
                  <a:srgbClr val="1F1F1F"/>
                </a:solidFill>
                <a:effectLst/>
                <a:cs typeface="Times New Roman" panose="02020603050405020304" pitchFamily="18" charset="0"/>
              </a:rPr>
              <a:t>average</a:t>
            </a:r>
            <a:r>
              <a:rPr lang="fr-FR" sz="1400" dirty="0">
                <a:solidFill>
                  <a:srgbClr val="1F1F1F"/>
                </a:solidFill>
                <a:effectLst/>
                <a:cs typeface="Times New Roman" panose="02020603050405020304" pitchFamily="18" charset="0"/>
              </a:rPr>
              <a:t> </a:t>
            </a:r>
            <a:r>
              <a:rPr lang="fr-FR" sz="1400" dirty="0" err="1">
                <a:solidFill>
                  <a:srgbClr val="1F1F1F"/>
                </a:solidFill>
                <a:effectLst/>
                <a:cs typeface="Times New Roman" panose="02020603050405020304" pitchFamily="18" charset="0"/>
              </a:rPr>
              <a:t>consuming</a:t>
            </a:r>
            <a:r>
              <a:rPr lang="fr-FR" sz="1400" dirty="0">
                <a:solidFill>
                  <a:srgbClr val="1F1F1F"/>
                </a:solidFill>
                <a:effectLst/>
                <a:cs typeface="Times New Roman" panose="02020603050405020304" pitchFamily="18" charset="0"/>
              </a:rPr>
              <a:t> </a:t>
            </a:r>
            <a:r>
              <a:rPr lang="fr-FR" sz="1400" dirty="0" err="1">
                <a:solidFill>
                  <a:srgbClr val="1F1F1F"/>
                </a:solidFill>
                <a:effectLst/>
                <a:cs typeface="Times New Roman" panose="02020603050405020304" pitchFamily="18" charset="0"/>
              </a:rPr>
              <a:t>cart</a:t>
            </a:r>
            <a:r>
              <a:rPr lang="fr-FR" sz="1400" dirty="0">
                <a:solidFill>
                  <a:srgbClr val="1F1F1F"/>
                </a:solidFill>
                <a:effectLst/>
                <a:cs typeface="Times New Roman" panose="02020603050405020304" pitchFamily="18" charset="0"/>
              </a:rPr>
              <a:t>) over </a:t>
            </a:r>
            <a:r>
              <a:rPr lang="fr-FR" sz="1400" dirty="0" err="1">
                <a:solidFill>
                  <a:srgbClr val="1F1F1F"/>
                </a:solidFill>
                <a:effectLst/>
                <a:cs typeface="Times New Roman" panose="02020603050405020304" pitchFamily="18" charset="0"/>
              </a:rPr>
              <a:t>various</a:t>
            </a:r>
            <a:r>
              <a:rPr lang="fr-FR" sz="1400" dirty="0">
                <a:solidFill>
                  <a:srgbClr val="1F1F1F"/>
                </a:solidFill>
                <a:effectLst/>
                <a:cs typeface="Times New Roman" panose="02020603050405020304" pitchFamily="18" charset="0"/>
              </a:rPr>
              <a:t> CPO formula. </a:t>
            </a:r>
            <a:r>
              <a:rPr lang="fr-FR" sz="1400" dirty="0" err="1">
                <a:solidFill>
                  <a:srgbClr val="1F1F1F"/>
                </a:solidFill>
                <a:cs typeface="Times New Roman" panose="02020603050405020304" pitchFamily="18" charset="0"/>
              </a:rPr>
              <a:t>Assessment</a:t>
            </a:r>
            <a:r>
              <a:rPr lang="fr-FR" sz="1400" dirty="0">
                <a:solidFill>
                  <a:srgbClr val="1F1F1F"/>
                </a:solidFill>
                <a:cs typeface="Times New Roman" panose="02020603050405020304" pitchFamily="18" charset="0"/>
              </a:rPr>
              <a:t> of formula </a:t>
            </a:r>
            <a:r>
              <a:rPr lang="fr-FR" sz="1400" dirty="0" err="1">
                <a:solidFill>
                  <a:srgbClr val="1F1F1F"/>
                </a:solidFill>
                <a:cs typeface="Times New Roman" panose="02020603050405020304" pitchFamily="18" charset="0"/>
              </a:rPr>
              <a:t>wideness</a:t>
            </a:r>
            <a:r>
              <a:rPr lang="fr-FR" sz="1400" dirty="0">
                <a:solidFill>
                  <a:srgbClr val="1F1F1F"/>
                </a:solidFill>
                <a:cs typeface="Times New Roman" panose="02020603050405020304" pitchFamily="18" charset="0"/>
              </a:rPr>
              <a:t>.</a:t>
            </a:r>
            <a:endParaRPr lang="fr-FR" sz="1400" dirty="0">
              <a:solidFill>
                <a:srgbClr val="1F1F1F"/>
              </a:solidFill>
              <a:effectLst/>
              <a:cs typeface="Times New Roman" panose="02020603050405020304" pitchFamily="18" charset="0"/>
            </a:endParaRPr>
          </a:p>
          <a:p>
            <a:pPr lvl="1"/>
            <a:endParaRPr lang="fr-FR" sz="1400" dirty="0"/>
          </a:p>
          <a:p>
            <a:pPr marL="285750" indent="-285750">
              <a:buFont typeface="Arial" panose="020B0604020202020204" pitchFamily="34" charset="0"/>
              <a:buChar char="•"/>
            </a:pPr>
            <a:r>
              <a:rPr lang="fr-FR" sz="1400" dirty="0"/>
              <a:t>Informative </a:t>
            </a:r>
            <a:r>
              <a:rPr lang="fr-FR" sz="1400" dirty="0" err="1"/>
              <a:t>schedule</a:t>
            </a:r>
            <a:r>
              <a:rPr lang="fr-FR" sz="1400" dirty="0"/>
              <a:t> : May 1st to June 15th</a:t>
            </a:r>
          </a:p>
          <a:p>
            <a:pPr marL="285750" indent="-285750">
              <a:buFont typeface="Arial" panose="020B0604020202020204" pitchFamily="34" charset="0"/>
              <a:buChar char="•"/>
            </a:pPr>
            <a:endParaRPr lang="fr-FR" sz="1400" dirty="0"/>
          </a:p>
          <a:p>
            <a:pPr marL="285750" indent="-285750">
              <a:buFont typeface="Arial" panose="020B0604020202020204" pitchFamily="34" charset="0"/>
              <a:buChar char="•"/>
            </a:pPr>
            <a:r>
              <a:rPr lang="fr-FR" sz="1400" dirty="0" err="1"/>
              <a:t>Available</a:t>
            </a:r>
            <a:r>
              <a:rPr lang="fr-FR" sz="1400" dirty="0"/>
              <a:t> </a:t>
            </a:r>
            <a:r>
              <a:rPr lang="fr-FR" sz="1400" dirty="0" err="1"/>
              <a:t>datasets</a:t>
            </a:r>
            <a:r>
              <a:rPr lang="fr-FR" sz="1400" dirty="0"/>
              <a:t> and </a:t>
            </a:r>
            <a:r>
              <a:rPr lang="fr-FR" sz="1400" dirty="0" err="1"/>
              <a:t>resources</a:t>
            </a:r>
            <a:r>
              <a:rPr lang="fr-FR" sz="1400" dirty="0"/>
              <a:t> :</a:t>
            </a:r>
          </a:p>
          <a:p>
            <a:pPr marL="742950" lvl="1" indent="-285750">
              <a:buFont typeface="Arial" panose="020B0604020202020204" pitchFamily="34" charset="0"/>
              <a:buChar char="•"/>
            </a:pPr>
            <a:r>
              <a:rPr lang="fr-FR" sz="1400" b="1" dirty="0">
                <a:solidFill>
                  <a:srgbClr val="FF0000"/>
                </a:solidFill>
              </a:rPr>
              <a:t>All </a:t>
            </a:r>
            <a:r>
              <a:rPr lang="fr-FR" sz="1400" b="1" dirty="0" err="1">
                <a:solidFill>
                  <a:srgbClr val="FF0000"/>
                </a:solidFill>
              </a:rPr>
              <a:t>datasets</a:t>
            </a:r>
            <a:r>
              <a:rPr lang="fr-FR" sz="1400" b="1" dirty="0">
                <a:solidFill>
                  <a:srgbClr val="FF0000"/>
                </a:solidFill>
              </a:rPr>
              <a:t> (transactions, EVSE and </a:t>
            </a:r>
            <a:r>
              <a:rPr lang="fr-FR" sz="1400" b="1" dirty="0" err="1">
                <a:solidFill>
                  <a:srgbClr val="FF0000"/>
                </a:solidFill>
              </a:rPr>
              <a:t>tariff</a:t>
            </a:r>
            <a:r>
              <a:rPr lang="fr-FR" sz="1400" b="1" dirty="0">
                <a:solidFill>
                  <a:srgbClr val="FF0000"/>
                </a:solidFill>
              </a:rPr>
              <a:t> formula) must </a:t>
            </a:r>
            <a:r>
              <a:rPr lang="fr-FR" sz="1400" b="1" dirty="0" err="1">
                <a:solidFill>
                  <a:srgbClr val="FF0000"/>
                </a:solidFill>
              </a:rPr>
              <a:t>be</a:t>
            </a:r>
            <a:r>
              <a:rPr lang="fr-FR" sz="1400" b="1" dirty="0">
                <a:solidFill>
                  <a:srgbClr val="FF0000"/>
                </a:solidFill>
              </a:rPr>
              <a:t> </a:t>
            </a:r>
            <a:r>
              <a:rPr lang="fr-FR" sz="1400" b="1" dirty="0" err="1">
                <a:solidFill>
                  <a:srgbClr val="FF0000"/>
                </a:solidFill>
              </a:rPr>
              <a:t>filtered</a:t>
            </a:r>
            <a:r>
              <a:rPr lang="fr-FR" sz="1400" b="1" dirty="0">
                <a:solidFill>
                  <a:srgbClr val="FF0000"/>
                </a:solidFill>
              </a:rPr>
              <a:t> for </a:t>
            </a:r>
            <a:r>
              <a:rPr lang="fr-FR" sz="1400" b="1" dirty="0" err="1">
                <a:solidFill>
                  <a:srgbClr val="FF0000"/>
                </a:solidFill>
              </a:rPr>
              <a:t>theses</a:t>
            </a:r>
            <a:r>
              <a:rPr lang="fr-FR" sz="1400" b="1" dirty="0">
                <a:solidFill>
                  <a:srgbClr val="FF0000"/>
                </a:solidFill>
              </a:rPr>
              <a:t> conditions : country = NL and FR ; Back end </a:t>
            </a:r>
            <a:r>
              <a:rPr lang="fr-FR" sz="1400" b="1" dirty="0" err="1">
                <a:solidFill>
                  <a:srgbClr val="FF0000"/>
                </a:solidFill>
              </a:rPr>
              <a:t>operator</a:t>
            </a:r>
            <a:r>
              <a:rPr lang="fr-FR" sz="1400" b="1" dirty="0">
                <a:solidFill>
                  <a:srgbClr val="FF0000"/>
                </a:solidFill>
              </a:rPr>
              <a:t> = LMS and </a:t>
            </a:r>
            <a:r>
              <a:rPr lang="fr-FR" sz="1400" b="1" dirty="0" err="1">
                <a:solidFill>
                  <a:srgbClr val="FF0000"/>
                </a:solidFill>
              </a:rPr>
              <a:t>TotalEnergies</a:t>
            </a:r>
            <a:r>
              <a:rPr lang="fr-FR" sz="1400" b="1" dirty="0">
                <a:solidFill>
                  <a:srgbClr val="FF0000"/>
                </a:solidFill>
              </a:rPr>
              <a:t>.</a:t>
            </a:r>
          </a:p>
          <a:p>
            <a:pPr marL="742950" lvl="1" indent="-285750">
              <a:buFont typeface="Arial" panose="020B0604020202020204" pitchFamily="34" charset="0"/>
              <a:buChar char="•"/>
            </a:pPr>
            <a:r>
              <a:rPr lang="fr-FR" sz="1400" dirty="0" err="1"/>
              <a:t>Same</a:t>
            </a:r>
            <a:r>
              <a:rPr lang="fr-FR" sz="1400" dirty="0"/>
              <a:t> </a:t>
            </a:r>
            <a:r>
              <a:rPr lang="fr-FR" sz="1400" dirty="0" err="1"/>
              <a:t>datasets</a:t>
            </a:r>
            <a:r>
              <a:rPr lang="fr-FR" sz="1400" dirty="0"/>
              <a:t> </a:t>
            </a:r>
            <a:r>
              <a:rPr lang="fr-FR" sz="1400" dirty="0" err="1"/>
              <a:t>provided</a:t>
            </a:r>
            <a:r>
              <a:rPr lang="fr-FR" sz="1400" dirty="0"/>
              <a:t> in Item 3 folder</a:t>
            </a:r>
          </a:p>
          <a:p>
            <a:pPr marL="742950" lvl="1" indent="-285750">
              <a:buFont typeface="Arial" panose="020B0604020202020204" pitchFamily="34" charset="0"/>
              <a:buChar char="•"/>
            </a:pPr>
            <a:r>
              <a:rPr lang="en-US" sz="1400" dirty="0"/>
              <a:t>“</a:t>
            </a:r>
            <a:r>
              <a:rPr lang="en-US" sz="1400" dirty="0" err="1"/>
              <a:t>Average_purchasing_cart</a:t>
            </a:r>
            <a:r>
              <a:rPr lang="fr-FR" sz="1400" dirty="0"/>
              <a:t>.csv</a:t>
            </a:r>
            <a:r>
              <a:rPr lang="en-US" sz="1400" dirty="0"/>
              <a:t>”</a:t>
            </a:r>
            <a:r>
              <a:rPr lang="fr-FR" sz="1400" dirty="0"/>
              <a:t> : </a:t>
            </a:r>
            <a:r>
              <a:rPr lang="fr-FR" sz="1400" dirty="0" err="1"/>
              <a:t>average</a:t>
            </a:r>
            <a:r>
              <a:rPr lang="fr-FR" sz="1400" dirty="0"/>
              <a:t> data (</a:t>
            </a:r>
            <a:r>
              <a:rPr lang="fr-FR" sz="1400" dirty="0" err="1"/>
              <a:t>consider</a:t>
            </a:r>
            <a:r>
              <a:rPr lang="fr-FR" sz="1400" dirty="0"/>
              <a:t> </a:t>
            </a:r>
            <a:r>
              <a:rPr lang="fr-FR" sz="1400" dirty="0" err="1"/>
              <a:t>charging</a:t>
            </a:r>
            <a:r>
              <a:rPr lang="fr-FR" sz="1400" dirty="0"/>
              <a:t> </a:t>
            </a:r>
            <a:r>
              <a:rPr lang="fr-FR" sz="1400" dirty="0" err="1"/>
              <a:t>quantity</a:t>
            </a:r>
            <a:r>
              <a:rPr lang="fr-FR" sz="1400" dirty="0"/>
              <a:t> and session duration) to </a:t>
            </a:r>
            <a:r>
              <a:rPr lang="fr-FR" sz="1400" dirty="0" err="1"/>
              <a:t>inject</a:t>
            </a:r>
            <a:r>
              <a:rPr lang="fr-FR" sz="1400" dirty="0"/>
              <a:t> in a </a:t>
            </a:r>
            <a:r>
              <a:rPr lang="fr-FR" sz="1400" dirty="0" err="1"/>
              <a:t>request</a:t>
            </a:r>
            <a:r>
              <a:rPr lang="fr-FR" sz="1400" dirty="0"/>
              <a:t> to </a:t>
            </a:r>
            <a:r>
              <a:rPr lang="fr-FR" sz="1400" dirty="0" err="1"/>
              <a:t>Bemo</a:t>
            </a:r>
            <a:r>
              <a:rPr lang="fr-FR" sz="1400" dirty="0"/>
              <a:t> </a:t>
            </a:r>
            <a:r>
              <a:rPr lang="fr-FR" sz="1400" dirty="0" err="1"/>
              <a:t>pricer</a:t>
            </a:r>
            <a:r>
              <a:rPr lang="fr-FR" sz="1400" dirty="0"/>
              <a:t>.</a:t>
            </a:r>
          </a:p>
          <a:p>
            <a:pPr marL="742950" lvl="1"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Explained tasks : </a:t>
            </a:r>
          </a:p>
          <a:p>
            <a:pPr marL="742950" lvl="1" indent="-285750">
              <a:buFont typeface="Arial" panose="020B0604020202020204" pitchFamily="34" charset="0"/>
              <a:buChar char="•"/>
            </a:pPr>
            <a:r>
              <a:rPr lang="en-US" sz="1400" dirty="0"/>
              <a:t>Take one power segment based on enough price formula and past transactions available (for instance </a:t>
            </a:r>
            <a:r>
              <a:rPr lang="en-US" sz="1400" dirty="0" err="1"/>
              <a:t>AC_slow_charge</a:t>
            </a:r>
            <a:r>
              <a:rPr lang="en-US" sz="1400" dirty="0"/>
              <a:t> in the file “</a:t>
            </a:r>
            <a:r>
              <a:rPr lang="en-US" sz="1400" dirty="0" err="1"/>
              <a:t>Average_purchasing_cart</a:t>
            </a:r>
            <a:r>
              <a:rPr lang="fr-FR" sz="1400" dirty="0"/>
              <a:t>.csv</a:t>
            </a:r>
            <a:r>
              <a:rPr lang="en-US" sz="1400" dirty="0"/>
              <a:t>”)</a:t>
            </a:r>
          </a:p>
          <a:p>
            <a:pPr marL="742950" lvl="1" indent="-285750">
              <a:buFont typeface="Arial" panose="020B0604020202020204" pitchFamily="34" charset="0"/>
              <a:buChar char="•"/>
            </a:pPr>
            <a:r>
              <a:rPr lang="en-US" sz="1400" dirty="0"/>
              <a:t>Inject it to various related CPO price formula and store the results.</a:t>
            </a:r>
          </a:p>
          <a:p>
            <a:pPr marL="742950" lvl="1" indent="-285750">
              <a:buFont typeface="Arial" panose="020B0604020202020204" pitchFamily="34" charset="0"/>
              <a:buChar char="•"/>
            </a:pPr>
            <a:r>
              <a:rPr lang="en-US" sz="1400" dirty="0"/>
              <a:t>Compare all results in a duration-quantity-price view using numerical and graphic displays.</a:t>
            </a:r>
          </a:p>
        </p:txBody>
      </p:sp>
      <p:sp>
        <p:nvSpPr>
          <p:cNvPr id="6" name="Espace réservé du numéro de diapositive 5">
            <a:extLst>
              <a:ext uri="{FF2B5EF4-FFF2-40B4-BE49-F238E27FC236}">
                <a16:creationId xmlns:a16="http://schemas.microsoft.com/office/drawing/2014/main" id="{EC9D517D-70A7-51E5-CA4E-DCE743F41F1A}"/>
              </a:ext>
            </a:extLst>
          </p:cNvPr>
          <p:cNvSpPr>
            <a:spLocks noGrp="1"/>
          </p:cNvSpPr>
          <p:nvPr>
            <p:ph type="sldNum" sz="quarter" idx="18"/>
          </p:nvPr>
        </p:nvSpPr>
        <p:spPr/>
        <p:txBody>
          <a:bodyPr/>
          <a:lstStyle/>
          <a:p>
            <a:fld id="{E9F690C6-F4CD-4FC2-95DF-E832AE3B8C23}" type="slidenum">
              <a:rPr lang="fr-FR" smtClean="0"/>
              <a:pPr/>
              <a:t>15</a:t>
            </a:fld>
            <a:endParaRPr lang="fr-FR"/>
          </a:p>
        </p:txBody>
      </p:sp>
    </p:spTree>
    <p:extLst>
      <p:ext uri="{BB962C8B-B14F-4D97-AF65-F5344CB8AC3E}">
        <p14:creationId xmlns:p14="http://schemas.microsoft.com/office/powerpoint/2010/main" val="304019472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A691175-E3FF-7DC1-B541-0E7FF0C4A2B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95" imgH="394" progId="TCLayout.ActiveDocument.1">
                  <p:embed/>
                </p:oleObj>
              </mc:Choice>
              <mc:Fallback>
                <p:oleObj name="Diapositive think-cell" r:id="rId3" imgW="395" imgH="394" progId="TCLayout.ActiveDocument.1">
                  <p:embed/>
                  <p:pic>
                    <p:nvPicPr>
                      <p:cNvPr id="5" name="think-cell data - do not delete" hidden="1">
                        <a:extLst>
                          <a:ext uri="{FF2B5EF4-FFF2-40B4-BE49-F238E27FC236}">
                            <a16:creationId xmlns:a16="http://schemas.microsoft.com/office/drawing/2014/main" id="{0A691175-E3FF-7DC1-B541-0E7FF0C4A2B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E52B8373-62D1-544B-7A5C-41B622D6A38F}"/>
              </a:ext>
            </a:extLst>
          </p:cNvPr>
          <p:cNvSpPr>
            <a:spLocks noGrp="1"/>
          </p:cNvSpPr>
          <p:nvPr>
            <p:ph type="title"/>
          </p:nvPr>
        </p:nvSpPr>
        <p:spPr>
          <a:xfrm>
            <a:off x="874868" y="302393"/>
            <a:ext cx="9738335" cy="649922"/>
          </a:xfrm>
        </p:spPr>
        <p:txBody>
          <a:bodyPr vert="horz"/>
          <a:lstStyle/>
          <a:p>
            <a:r>
              <a:rPr lang="fr-FR" dirty="0"/>
              <a:t>Item 5 description</a:t>
            </a:r>
          </a:p>
        </p:txBody>
      </p:sp>
      <p:sp>
        <p:nvSpPr>
          <p:cNvPr id="4" name="Espace réservé du texte 3">
            <a:extLst>
              <a:ext uri="{FF2B5EF4-FFF2-40B4-BE49-F238E27FC236}">
                <a16:creationId xmlns:a16="http://schemas.microsoft.com/office/drawing/2014/main" id="{430F12B2-8A30-D6A2-6AC7-ABAE7B02E283}"/>
              </a:ext>
            </a:extLst>
          </p:cNvPr>
          <p:cNvSpPr>
            <a:spLocks noGrp="1"/>
          </p:cNvSpPr>
          <p:nvPr>
            <p:ph type="body" sz="quarter" idx="16"/>
          </p:nvPr>
        </p:nvSpPr>
        <p:spPr>
          <a:xfrm>
            <a:off x="677891" y="1325366"/>
            <a:ext cx="11156825" cy="3215812"/>
          </a:xfrm>
        </p:spPr>
        <p:txBody>
          <a:bodyPr/>
          <a:lstStyle/>
          <a:p>
            <a:pPr marL="228600" indent="-228600">
              <a:spcAft>
                <a:spcPts val="750"/>
              </a:spcAft>
              <a:buSzPts val="1000"/>
              <a:buFont typeface="Wingdings" panose="05000000000000000000" pitchFamily="2" charset="2"/>
              <a:buChar char=""/>
              <a:tabLst>
                <a:tab pos="1371600" algn="l"/>
              </a:tabLst>
            </a:pPr>
            <a:r>
              <a:rPr lang="fr-FR" sz="1400" dirty="0" err="1"/>
              <a:t>Purpose</a:t>
            </a:r>
            <a:r>
              <a:rPr lang="fr-FR" sz="1400" dirty="0"/>
              <a:t> : </a:t>
            </a:r>
            <a:r>
              <a:rPr lang="en-US" sz="1400" dirty="0">
                <a:solidFill>
                  <a:srgbClr val="1F1F1F"/>
                </a:solidFill>
                <a:effectLst/>
                <a:cs typeface="Times New Roman" panose="02020603050405020304" pitchFamily="18" charset="0"/>
              </a:rPr>
              <a:t>Conclusion in terms of general overview, details per CPO and way of handling pricing formula for various departments which work on it.</a:t>
            </a:r>
          </a:p>
          <a:p>
            <a:pPr marL="685800" lvl="1" indent="-228600">
              <a:spcAft>
                <a:spcPts val="750"/>
              </a:spcAft>
              <a:buSzPts val="1000"/>
              <a:buFont typeface="Wingdings" panose="05000000000000000000" pitchFamily="2" charset="2"/>
              <a:buChar char=""/>
              <a:tabLst>
                <a:tab pos="1371600" algn="l"/>
              </a:tabLst>
            </a:pPr>
            <a:r>
              <a:rPr lang="fr-FR" sz="1400" b="1" dirty="0" err="1">
                <a:solidFill>
                  <a:srgbClr val="FF0000"/>
                </a:solidFill>
              </a:rPr>
              <a:t>Add</a:t>
            </a:r>
            <a:r>
              <a:rPr lang="fr-FR" sz="1400" b="1" dirty="0">
                <a:solidFill>
                  <a:srgbClr val="FF0000"/>
                </a:solidFill>
              </a:rPr>
              <a:t> </a:t>
            </a:r>
            <a:r>
              <a:rPr lang="fr-FR" sz="1400" b="1" dirty="0" err="1">
                <a:solidFill>
                  <a:srgbClr val="FF0000"/>
                </a:solidFill>
              </a:rPr>
              <a:t>any</a:t>
            </a:r>
            <a:r>
              <a:rPr lang="fr-FR" sz="1400" b="1" dirty="0">
                <a:solidFill>
                  <a:srgbClr val="FF0000"/>
                </a:solidFill>
              </a:rPr>
              <a:t> topic of </a:t>
            </a:r>
            <a:r>
              <a:rPr lang="fr-FR" sz="1400" b="1" dirty="0" err="1">
                <a:solidFill>
                  <a:srgbClr val="FF0000"/>
                </a:solidFill>
              </a:rPr>
              <a:t>interest</a:t>
            </a:r>
            <a:r>
              <a:rPr lang="fr-FR" sz="1400" b="1" dirty="0">
                <a:solidFill>
                  <a:srgbClr val="FF0000"/>
                </a:solidFill>
              </a:rPr>
              <a:t> </a:t>
            </a:r>
            <a:r>
              <a:rPr lang="fr-FR" sz="1400" b="1" dirty="0" err="1">
                <a:solidFill>
                  <a:srgbClr val="FF0000"/>
                </a:solidFill>
              </a:rPr>
              <a:t>you</a:t>
            </a:r>
            <a:r>
              <a:rPr lang="fr-FR" sz="1400" b="1" dirty="0">
                <a:solidFill>
                  <a:srgbClr val="FF0000"/>
                </a:solidFill>
              </a:rPr>
              <a:t> </a:t>
            </a:r>
            <a:r>
              <a:rPr lang="fr-FR" sz="1400" b="1" dirty="0" err="1">
                <a:solidFill>
                  <a:srgbClr val="FF0000"/>
                </a:solidFill>
              </a:rPr>
              <a:t>may</a:t>
            </a:r>
            <a:r>
              <a:rPr lang="fr-FR" sz="1400" b="1" dirty="0">
                <a:solidFill>
                  <a:srgbClr val="FF0000"/>
                </a:solidFill>
              </a:rPr>
              <a:t> </a:t>
            </a:r>
            <a:r>
              <a:rPr lang="fr-FR" sz="1400" b="1" dirty="0" err="1">
                <a:solidFill>
                  <a:srgbClr val="FF0000"/>
                </a:solidFill>
              </a:rPr>
              <a:t>identify</a:t>
            </a:r>
            <a:r>
              <a:rPr lang="fr-FR" sz="1400" b="1" dirty="0">
                <a:solidFill>
                  <a:srgbClr val="FF0000"/>
                </a:solidFill>
              </a:rPr>
              <a:t> to finish the </a:t>
            </a:r>
            <a:r>
              <a:rPr lang="fr-FR" sz="1400" b="1" dirty="0" err="1">
                <a:solidFill>
                  <a:srgbClr val="FF0000"/>
                </a:solidFill>
              </a:rPr>
              <a:t>project</a:t>
            </a:r>
            <a:r>
              <a:rPr lang="fr-FR" sz="1400" b="1" dirty="0">
                <a:solidFill>
                  <a:srgbClr val="FF0000"/>
                </a:solidFill>
              </a:rPr>
              <a:t> and to </a:t>
            </a:r>
            <a:r>
              <a:rPr lang="fr-FR" sz="1400" b="1" dirty="0" err="1">
                <a:solidFill>
                  <a:srgbClr val="FF0000"/>
                </a:solidFill>
              </a:rPr>
              <a:t>answer</a:t>
            </a:r>
            <a:r>
              <a:rPr lang="fr-FR" sz="1400" b="1" dirty="0">
                <a:solidFill>
                  <a:srgbClr val="FF0000"/>
                </a:solidFill>
              </a:rPr>
              <a:t> the </a:t>
            </a:r>
            <a:r>
              <a:rPr lang="fr-FR" sz="1400" b="1" dirty="0" err="1">
                <a:solidFill>
                  <a:srgbClr val="FF0000"/>
                </a:solidFill>
              </a:rPr>
              <a:t>subject</a:t>
            </a:r>
            <a:r>
              <a:rPr lang="fr-FR" sz="1400" b="1" dirty="0">
                <a:solidFill>
                  <a:srgbClr val="FF0000"/>
                </a:solidFill>
              </a:rPr>
              <a:t> : « </a:t>
            </a:r>
            <a:r>
              <a:rPr lang="fr-FR" sz="1400" b="1" dirty="0" err="1">
                <a:solidFill>
                  <a:srgbClr val="FF0000"/>
                </a:solidFill>
              </a:rPr>
              <a:t>is</a:t>
            </a:r>
            <a:r>
              <a:rPr lang="fr-FR" sz="1400" b="1" dirty="0">
                <a:solidFill>
                  <a:srgbClr val="FF0000"/>
                </a:solidFill>
              </a:rPr>
              <a:t> </a:t>
            </a:r>
            <a:r>
              <a:rPr lang="fr-FR" sz="1400" b="1" dirty="0" err="1">
                <a:solidFill>
                  <a:srgbClr val="FF0000"/>
                </a:solidFill>
              </a:rPr>
              <a:t>it</a:t>
            </a:r>
            <a:r>
              <a:rPr lang="fr-FR" sz="1400" b="1" dirty="0">
                <a:solidFill>
                  <a:srgbClr val="FF0000"/>
                </a:solidFill>
              </a:rPr>
              <a:t> </a:t>
            </a:r>
            <a:r>
              <a:rPr lang="fr-FR" sz="1400" b="1" dirty="0" err="1">
                <a:solidFill>
                  <a:srgbClr val="FF0000"/>
                </a:solidFill>
              </a:rPr>
              <a:t>worth</a:t>
            </a:r>
            <a:r>
              <a:rPr lang="fr-FR" sz="1400" b="1" dirty="0">
                <a:solidFill>
                  <a:srgbClr val="FF0000"/>
                </a:solidFill>
              </a:rPr>
              <a:t> to follow the update </a:t>
            </a:r>
            <a:r>
              <a:rPr lang="fr-FR" sz="1400" b="1" dirty="0" err="1">
                <a:solidFill>
                  <a:srgbClr val="FF0000"/>
                </a:solidFill>
              </a:rPr>
              <a:t>price</a:t>
            </a:r>
            <a:r>
              <a:rPr lang="fr-FR" sz="1400" b="1" dirty="0">
                <a:solidFill>
                  <a:srgbClr val="FF0000"/>
                </a:solidFill>
              </a:rPr>
              <a:t> </a:t>
            </a:r>
            <a:r>
              <a:rPr lang="fr-FR" sz="1400" b="1" dirty="0" err="1">
                <a:solidFill>
                  <a:srgbClr val="FF0000"/>
                </a:solidFill>
              </a:rPr>
              <a:t>policy</a:t>
            </a:r>
            <a:r>
              <a:rPr lang="fr-FR" sz="1400" b="1" dirty="0">
                <a:solidFill>
                  <a:srgbClr val="FF0000"/>
                </a:solidFill>
              </a:rPr>
              <a:t> </a:t>
            </a:r>
            <a:r>
              <a:rPr lang="fr-FR" sz="1400" b="1" dirty="0" err="1">
                <a:solidFill>
                  <a:srgbClr val="FF0000"/>
                </a:solidFill>
              </a:rPr>
              <a:t>from</a:t>
            </a:r>
            <a:r>
              <a:rPr lang="fr-FR" sz="1400" b="1" dirty="0">
                <a:solidFill>
                  <a:srgbClr val="FF0000"/>
                </a:solidFill>
              </a:rPr>
              <a:t> CPO ? »</a:t>
            </a:r>
          </a:p>
          <a:p>
            <a:pPr marL="285750" indent="-285750">
              <a:buFont typeface="Arial" panose="020B0604020202020204" pitchFamily="34" charset="0"/>
              <a:buChar char="•"/>
            </a:pPr>
            <a:r>
              <a:rPr lang="fr-FR" sz="1400" dirty="0"/>
              <a:t>Informative </a:t>
            </a:r>
            <a:r>
              <a:rPr lang="fr-FR" sz="1400" dirty="0" err="1"/>
              <a:t>schedule</a:t>
            </a:r>
            <a:r>
              <a:rPr lang="fr-FR" sz="1400" dirty="0"/>
              <a:t> : May 1st to June 15th</a:t>
            </a:r>
          </a:p>
          <a:p>
            <a:pPr marL="285750" indent="-285750">
              <a:buFont typeface="Arial" panose="020B0604020202020204" pitchFamily="34" charset="0"/>
              <a:buChar char="•"/>
            </a:pPr>
            <a:endParaRPr lang="fr-FR" sz="1400" dirty="0"/>
          </a:p>
          <a:p>
            <a:pPr marL="285750" indent="-285750">
              <a:buFont typeface="Arial" panose="020B0604020202020204" pitchFamily="34" charset="0"/>
              <a:buChar char="•"/>
            </a:pPr>
            <a:r>
              <a:rPr lang="fr-FR" sz="1400" dirty="0" err="1"/>
              <a:t>Available</a:t>
            </a:r>
            <a:r>
              <a:rPr lang="fr-FR" sz="1400" dirty="0"/>
              <a:t> </a:t>
            </a:r>
            <a:r>
              <a:rPr lang="fr-FR" sz="1400" dirty="0" err="1"/>
              <a:t>datasets</a:t>
            </a:r>
            <a:r>
              <a:rPr lang="fr-FR" sz="1400" dirty="0"/>
              <a:t> and </a:t>
            </a:r>
            <a:r>
              <a:rPr lang="fr-FR" sz="1400" dirty="0" err="1"/>
              <a:t>resources</a:t>
            </a:r>
            <a:r>
              <a:rPr lang="fr-FR" sz="1400" dirty="0"/>
              <a:t> :</a:t>
            </a:r>
          </a:p>
          <a:p>
            <a:pPr marL="742950" lvl="1" indent="-285750">
              <a:buFont typeface="Arial" panose="020B0604020202020204" pitchFamily="34" charset="0"/>
              <a:buChar char="•"/>
            </a:pPr>
            <a:r>
              <a:rPr lang="fr-FR" sz="1400" b="1" dirty="0">
                <a:solidFill>
                  <a:srgbClr val="FF0000"/>
                </a:solidFill>
              </a:rPr>
              <a:t>All </a:t>
            </a:r>
            <a:r>
              <a:rPr lang="fr-FR" sz="1400" b="1" dirty="0" err="1">
                <a:solidFill>
                  <a:srgbClr val="FF0000"/>
                </a:solidFill>
              </a:rPr>
              <a:t>datasets</a:t>
            </a:r>
            <a:r>
              <a:rPr lang="fr-FR" sz="1400" b="1" dirty="0">
                <a:solidFill>
                  <a:srgbClr val="FF0000"/>
                </a:solidFill>
              </a:rPr>
              <a:t> (transactions, EVSE and </a:t>
            </a:r>
            <a:r>
              <a:rPr lang="fr-FR" sz="1400" b="1" dirty="0" err="1">
                <a:solidFill>
                  <a:srgbClr val="FF0000"/>
                </a:solidFill>
              </a:rPr>
              <a:t>tariff</a:t>
            </a:r>
            <a:r>
              <a:rPr lang="fr-FR" sz="1400" b="1" dirty="0">
                <a:solidFill>
                  <a:srgbClr val="FF0000"/>
                </a:solidFill>
              </a:rPr>
              <a:t> formula) must </a:t>
            </a:r>
            <a:r>
              <a:rPr lang="fr-FR" sz="1400" b="1" dirty="0" err="1">
                <a:solidFill>
                  <a:srgbClr val="FF0000"/>
                </a:solidFill>
              </a:rPr>
              <a:t>be</a:t>
            </a:r>
            <a:r>
              <a:rPr lang="fr-FR" sz="1400" b="1" dirty="0">
                <a:solidFill>
                  <a:srgbClr val="FF0000"/>
                </a:solidFill>
              </a:rPr>
              <a:t> </a:t>
            </a:r>
            <a:r>
              <a:rPr lang="fr-FR" sz="1400" b="1" dirty="0" err="1">
                <a:solidFill>
                  <a:srgbClr val="FF0000"/>
                </a:solidFill>
              </a:rPr>
              <a:t>filtered</a:t>
            </a:r>
            <a:r>
              <a:rPr lang="fr-FR" sz="1400" b="1" dirty="0">
                <a:solidFill>
                  <a:srgbClr val="FF0000"/>
                </a:solidFill>
              </a:rPr>
              <a:t> for </a:t>
            </a:r>
            <a:r>
              <a:rPr lang="fr-FR" sz="1400" b="1" dirty="0" err="1">
                <a:solidFill>
                  <a:srgbClr val="FF0000"/>
                </a:solidFill>
              </a:rPr>
              <a:t>theses</a:t>
            </a:r>
            <a:r>
              <a:rPr lang="fr-FR" sz="1400" b="1" dirty="0">
                <a:solidFill>
                  <a:srgbClr val="FF0000"/>
                </a:solidFill>
              </a:rPr>
              <a:t> conditions : country = NL and FR ; Back end </a:t>
            </a:r>
            <a:r>
              <a:rPr lang="fr-FR" sz="1400" b="1" dirty="0" err="1">
                <a:solidFill>
                  <a:srgbClr val="FF0000"/>
                </a:solidFill>
              </a:rPr>
              <a:t>operator</a:t>
            </a:r>
            <a:r>
              <a:rPr lang="fr-FR" sz="1400" b="1" dirty="0">
                <a:solidFill>
                  <a:srgbClr val="FF0000"/>
                </a:solidFill>
              </a:rPr>
              <a:t> = LMS and </a:t>
            </a:r>
            <a:r>
              <a:rPr lang="fr-FR" sz="1400" b="1" dirty="0" err="1">
                <a:solidFill>
                  <a:srgbClr val="FF0000"/>
                </a:solidFill>
              </a:rPr>
              <a:t>TotalEnergies</a:t>
            </a:r>
            <a:r>
              <a:rPr lang="fr-FR" sz="1400" b="1" dirty="0">
                <a:solidFill>
                  <a:srgbClr val="FF0000"/>
                </a:solidFill>
              </a:rPr>
              <a:t>.</a:t>
            </a:r>
          </a:p>
          <a:p>
            <a:pPr marL="742950" lvl="1" indent="-285750">
              <a:buFont typeface="Arial" panose="020B0604020202020204" pitchFamily="34" charset="0"/>
              <a:buChar char="•"/>
            </a:pPr>
            <a:r>
              <a:rPr lang="fr-FR" sz="1400" dirty="0" err="1"/>
              <a:t>Same</a:t>
            </a:r>
            <a:r>
              <a:rPr lang="fr-FR" sz="1400" dirty="0"/>
              <a:t> </a:t>
            </a:r>
            <a:r>
              <a:rPr lang="fr-FR" sz="1400" dirty="0" err="1"/>
              <a:t>datasets</a:t>
            </a:r>
            <a:r>
              <a:rPr lang="fr-FR" sz="1400" dirty="0"/>
              <a:t> </a:t>
            </a:r>
            <a:r>
              <a:rPr lang="fr-FR" sz="1400" dirty="0" err="1"/>
              <a:t>provided</a:t>
            </a:r>
            <a:r>
              <a:rPr lang="fr-FR" sz="1400" dirty="0"/>
              <a:t> in Item 3 folder</a:t>
            </a:r>
          </a:p>
          <a:p>
            <a:pPr marL="742950" lvl="1" indent="-285750">
              <a:buFont typeface="Arial" panose="020B0604020202020204" pitchFamily="34" charset="0"/>
              <a:buChar char="•"/>
            </a:pPr>
            <a:r>
              <a:rPr lang="en-US" sz="1400" dirty="0"/>
              <a:t>“</a:t>
            </a:r>
            <a:r>
              <a:rPr lang="en-US" sz="1400" dirty="0" err="1"/>
              <a:t>Average_purchasing_cart</a:t>
            </a:r>
            <a:r>
              <a:rPr lang="fr-FR" sz="1400" dirty="0"/>
              <a:t>.csv</a:t>
            </a:r>
            <a:r>
              <a:rPr lang="en-US" sz="1400" dirty="0"/>
              <a:t>”</a:t>
            </a:r>
            <a:r>
              <a:rPr lang="fr-FR" sz="1400" dirty="0"/>
              <a:t> : </a:t>
            </a:r>
            <a:r>
              <a:rPr lang="fr-FR" sz="1400" dirty="0" err="1"/>
              <a:t>average</a:t>
            </a:r>
            <a:r>
              <a:rPr lang="fr-FR" sz="1400" dirty="0"/>
              <a:t> data (</a:t>
            </a:r>
            <a:r>
              <a:rPr lang="fr-FR" sz="1400" dirty="0" err="1"/>
              <a:t>consider</a:t>
            </a:r>
            <a:r>
              <a:rPr lang="fr-FR" sz="1400" dirty="0"/>
              <a:t> </a:t>
            </a:r>
            <a:r>
              <a:rPr lang="fr-FR" sz="1400" dirty="0" err="1"/>
              <a:t>charging</a:t>
            </a:r>
            <a:r>
              <a:rPr lang="fr-FR" sz="1400" dirty="0"/>
              <a:t> </a:t>
            </a:r>
            <a:r>
              <a:rPr lang="fr-FR" sz="1400" dirty="0" err="1"/>
              <a:t>quantity</a:t>
            </a:r>
            <a:r>
              <a:rPr lang="fr-FR" sz="1400" dirty="0"/>
              <a:t> and session duration) to </a:t>
            </a:r>
            <a:r>
              <a:rPr lang="fr-FR" sz="1400" dirty="0" err="1"/>
              <a:t>inject</a:t>
            </a:r>
            <a:r>
              <a:rPr lang="fr-FR" sz="1400" dirty="0"/>
              <a:t> in a </a:t>
            </a:r>
            <a:r>
              <a:rPr lang="fr-FR" sz="1400" dirty="0" err="1"/>
              <a:t>request</a:t>
            </a:r>
            <a:r>
              <a:rPr lang="fr-FR" sz="1400" dirty="0"/>
              <a:t> to </a:t>
            </a:r>
            <a:r>
              <a:rPr lang="fr-FR" sz="1400" dirty="0" err="1"/>
              <a:t>Bemo</a:t>
            </a:r>
            <a:r>
              <a:rPr lang="fr-FR" sz="1400" dirty="0"/>
              <a:t> </a:t>
            </a:r>
            <a:r>
              <a:rPr lang="fr-FR" sz="1400" dirty="0" err="1"/>
              <a:t>pricer</a:t>
            </a:r>
            <a:r>
              <a:rPr lang="fr-FR" sz="1400" dirty="0"/>
              <a:t>.</a:t>
            </a:r>
          </a:p>
          <a:p>
            <a:pPr marL="742950" lvl="1"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Expected delivery : </a:t>
            </a:r>
          </a:p>
          <a:p>
            <a:pPr marL="742950" lvl="1" indent="-285750">
              <a:buFont typeface="Arial" panose="020B0604020202020204" pitchFamily="34" charset="0"/>
              <a:buChar char="•"/>
            </a:pPr>
            <a:r>
              <a:rPr lang="en-US" sz="1400" dirty="0"/>
              <a:t>One technical report explaining work on all items</a:t>
            </a:r>
          </a:p>
          <a:p>
            <a:pPr marL="742950" lvl="1" indent="-285750">
              <a:buFont typeface="Arial" panose="020B0604020202020204" pitchFamily="34" charset="0"/>
              <a:buChar char="•"/>
            </a:pPr>
            <a:r>
              <a:rPr lang="en-US" sz="1400" dirty="0"/>
              <a:t>One technical presentation for a data science public</a:t>
            </a:r>
          </a:p>
          <a:p>
            <a:pPr marL="742950" lvl="1" indent="-285750">
              <a:buFont typeface="Arial" panose="020B0604020202020204" pitchFamily="34" charset="0"/>
              <a:buChar char="•"/>
            </a:pPr>
            <a:r>
              <a:rPr lang="en-US" sz="1400" dirty="0"/>
              <a:t>One non technical presentation for a general public at </a:t>
            </a:r>
            <a:r>
              <a:rPr lang="en-US" sz="1400" dirty="0" err="1"/>
              <a:t>TotalEnergies</a:t>
            </a:r>
            <a:r>
              <a:rPr lang="en-US" sz="1400" dirty="0"/>
              <a:t> (data, marketing, top management…)</a:t>
            </a:r>
          </a:p>
        </p:txBody>
      </p:sp>
      <p:sp>
        <p:nvSpPr>
          <p:cNvPr id="6" name="Espace réservé du numéro de diapositive 5">
            <a:extLst>
              <a:ext uri="{FF2B5EF4-FFF2-40B4-BE49-F238E27FC236}">
                <a16:creationId xmlns:a16="http://schemas.microsoft.com/office/drawing/2014/main" id="{EC9D517D-70A7-51E5-CA4E-DCE743F41F1A}"/>
              </a:ext>
            </a:extLst>
          </p:cNvPr>
          <p:cNvSpPr>
            <a:spLocks noGrp="1"/>
          </p:cNvSpPr>
          <p:nvPr>
            <p:ph type="sldNum" sz="quarter" idx="18"/>
          </p:nvPr>
        </p:nvSpPr>
        <p:spPr/>
        <p:txBody>
          <a:bodyPr/>
          <a:lstStyle/>
          <a:p>
            <a:fld id="{E9F690C6-F4CD-4FC2-95DF-E832AE3B8C23}" type="slidenum">
              <a:rPr lang="fr-FR" smtClean="0"/>
              <a:pPr/>
              <a:t>16</a:t>
            </a:fld>
            <a:endParaRPr lang="fr-FR"/>
          </a:p>
        </p:txBody>
      </p:sp>
    </p:spTree>
    <p:extLst>
      <p:ext uri="{BB962C8B-B14F-4D97-AF65-F5344CB8AC3E}">
        <p14:creationId xmlns:p14="http://schemas.microsoft.com/office/powerpoint/2010/main" val="8574148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52B8373-62D1-544B-7A5C-41B622D6A38F}"/>
              </a:ext>
            </a:extLst>
          </p:cNvPr>
          <p:cNvSpPr>
            <a:spLocks noGrp="1"/>
          </p:cNvSpPr>
          <p:nvPr>
            <p:ph type="title"/>
          </p:nvPr>
        </p:nvSpPr>
        <p:spPr>
          <a:xfrm>
            <a:off x="874868" y="302393"/>
            <a:ext cx="9738335" cy="649922"/>
          </a:xfrm>
        </p:spPr>
        <p:txBody>
          <a:bodyPr/>
          <a:lstStyle/>
          <a:p>
            <a:r>
              <a:rPr lang="fr-FR" dirty="0"/>
              <a:t>Next </a:t>
            </a:r>
            <a:r>
              <a:rPr lang="fr-FR" dirty="0" err="1"/>
              <a:t>steps</a:t>
            </a:r>
            <a:endParaRPr lang="fr-FR" dirty="0"/>
          </a:p>
        </p:txBody>
      </p:sp>
      <p:sp>
        <p:nvSpPr>
          <p:cNvPr id="4" name="Espace réservé du texte 3">
            <a:extLst>
              <a:ext uri="{FF2B5EF4-FFF2-40B4-BE49-F238E27FC236}">
                <a16:creationId xmlns:a16="http://schemas.microsoft.com/office/drawing/2014/main" id="{430F12B2-8A30-D6A2-6AC7-ABAE7B02E283}"/>
              </a:ext>
            </a:extLst>
          </p:cNvPr>
          <p:cNvSpPr>
            <a:spLocks noGrp="1"/>
          </p:cNvSpPr>
          <p:nvPr>
            <p:ph type="body" sz="quarter" idx="16"/>
          </p:nvPr>
        </p:nvSpPr>
        <p:spPr>
          <a:xfrm>
            <a:off x="772126" y="1091009"/>
            <a:ext cx="11156825" cy="4531865"/>
          </a:xfrm>
        </p:spPr>
        <p:txBody>
          <a:bodyPr/>
          <a:lstStyle/>
          <a:p>
            <a:pPr marL="285750" indent="-285750">
              <a:buFont typeface="Arial" panose="020B0604020202020204" pitchFamily="34" charset="0"/>
              <a:buChar char="•"/>
            </a:pPr>
            <a:r>
              <a:rPr lang="fr-FR" dirty="0">
                <a:ea typeface="Calibri" panose="020F0502020204030204" pitchFamily="34" charset="0"/>
              </a:rPr>
              <a:t>Item 3 </a:t>
            </a:r>
            <a:r>
              <a:rPr lang="fr-FR" dirty="0" err="1">
                <a:ea typeface="Calibri" panose="020F0502020204030204" pitchFamily="34" charset="0"/>
              </a:rPr>
              <a:t>is</a:t>
            </a:r>
            <a:r>
              <a:rPr lang="fr-FR" dirty="0">
                <a:ea typeface="Calibri" panose="020F0502020204030204" pitchFamily="34" charset="0"/>
              </a:rPr>
              <a:t> </a:t>
            </a:r>
            <a:r>
              <a:rPr lang="fr-FR" dirty="0" err="1">
                <a:ea typeface="Calibri" panose="020F0502020204030204" pitchFamily="34" charset="0"/>
              </a:rPr>
              <a:t>under</a:t>
            </a:r>
            <a:r>
              <a:rPr lang="fr-FR" dirty="0">
                <a:ea typeface="Calibri" panose="020F0502020204030204" pitchFamily="34" charset="0"/>
              </a:rPr>
              <a:t> </a:t>
            </a:r>
            <a:r>
              <a:rPr lang="fr-FR" dirty="0" err="1">
                <a:ea typeface="Calibri" panose="020F0502020204030204" pitchFamily="34" charset="0"/>
              </a:rPr>
              <a:t>progress</a:t>
            </a:r>
            <a:r>
              <a:rPr lang="fr-FR" dirty="0">
                <a:ea typeface="Calibri" panose="020F0502020204030204" pitchFamily="34" charset="0"/>
              </a:rPr>
              <a:t> for </a:t>
            </a:r>
            <a:r>
              <a:rPr lang="fr-FR" dirty="0" err="1">
                <a:ea typeface="Calibri" panose="020F0502020204030204" pitchFamily="34" charset="0"/>
              </a:rPr>
              <a:t>review</a:t>
            </a:r>
            <a:r>
              <a:rPr lang="fr-FR" dirty="0">
                <a:ea typeface="Calibri" panose="020F0502020204030204" pitchFamily="34" charset="0"/>
              </a:rPr>
              <a:t>.</a:t>
            </a:r>
          </a:p>
          <a:p>
            <a:pPr marL="742950" lvl="1" indent="-285750">
              <a:buFont typeface="Arial" panose="020B0604020202020204" pitchFamily="34" charset="0"/>
              <a:buChar char="•"/>
            </a:pPr>
            <a:endParaRPr lang="fr-FR" dirty="0">
              <a:ea typeface="Calibri" panose="020F0502020204030204" pitchFamily="34" charset="0"/>
            </a:endParaRPr>
          </a:p>
          <a:p>
            <a:pPr marL="285750" indent="-285750">
              <a:buFont typeface="Arial" panose="020B0604020202020204" pitchFamily="34" charset="0"/>
              <a:buChar char="•"/>
            </a:pPr>
            <a:r>
              <a:rPr lang="fr-FR" dirty="0">
                <a:ea typeface="Calibri" panose="020F0502020204030204" pitchFamily="34" charset="0"/>
              </a:rPr>
              <a:t>Weekly </a:t>
            </a:r>
            <a:r>
              <a:rPr lang="fr-FR" dirty="0" err="1">
                <a:ea typeface="Calibri" panose="020F0502020204030204" pitchFamily="34" charset="0"/>
              </a:rPr>
              <a:t>available</a:t>
            </a:r>
            <a:r>
              <a:rPr lang="fr-FR" dirty="0">
                <a:ea typeface="Calibri" panose="020F0502020204030204" pitchFamily="34" charset="0"/>
              </a:rPr>
              <a:t> time slots to </a:t>
            </a:r>
            <a:r>
              <a:rPr lang="fr-FR" dirty="0" err="1">
                <a:ea typeface="Calibri" panose="020F0502020204030204" pitchFamily="34" charset="0"/>
              </a:rPr>
              <a:t>share</a:t>
            </a:r>
            <a:r>
              <a:rPr lang="fr-FR" dirty="0">
                <a:ea typeface="Calibri" panose="020F0502020204030204" pitchFamily="34" charset="0"/>
              </a:rPr>
              <a:t> </a:t>
            </a:r>
            <a:r>
              <a:rPr lang="fr-FR" dirty="0" err="1">
                <a:ea typeface="Calibri" panose="020F0502020204030204" pitchFamily="34" charset="0"/>
              </a:rPr>
              <a:t>progress</a:t>
            </a:r>
            <a:r>
              <a:rPr lang="fr-FR" dirty="0">
                <a:ea typeface="Calibri" panose="020F0502020204030204" pitchFamily="34" charset="0"/>
              </a:rPr>
              <a:t>, </a:t>
            </a:r>
            <a:r>
              <a:rPr lang="fr-FR" dirty="0" err="1">
                <a:ea typeface="Calibri" panose="020F0502020204030204" pitchFamily="34" charset="0"/>
              </a:rPr>
              <a:t>difficulties</a:t>
            </a:r>
            <a:r>
              <a:rPr lang="fr-FR" dirty="0">
                <a:ea typeface="Calibri" panose="020F0502020204030204" pitchFamily="34" charset="0"/>
              </a:rPr>
              <a:t>, questions… </a:t>
            </a:r>
            <a:r>
              <a:rPr lang="fr-FR" b="1" dirty="0" err="1">
                <a:ea typeface="Calibri" panose="020F0502020204030204" pitchFamily="34" charset="0"/>
              </a:rPr>
              <a:t>Send</a:t>
            </a:r>
            <a:r>
              <a:rPr lang="fr-FR" b="1" dirty="0">
                <a:ea typeface="Calibri" panose="020F0502020204030204" pitchFamily="34" charset="0"/>
              </a:rPr>
              <a:t> me </a:t>
            </a:r>
            <a:r>
              <a:rPr lang="fr-FR" b="1" dirty="0" err="1">
                <a:ea typeface="Calibri" panose="020F0502020204030204" pitchFamily="34" charset="0"/>
              </a:rPr>
              <a:t>your</a:t>
            </a:r>
            <a:r>
              <a:rPr lang="fr-FR" b="1" dirty="0">
                <a:ea typeface="Calibri" panose="020F0502020204030204" pitchFamily="34" charset="0"/>
              </a:rPr>
              <a:t> team </a:t>
            </a:r>
            <a:r>
              <a:rPr lang="fr-FR" b="1" dirty="0" err="1">
                <a:ea typeface="Calibri" panose="020F0502020204030204" pitchFamily="34" charset="0"/>
              </a:rPr>
              <a:t>availabilities</a:t>
            </a:r>
            <a:r>
              <a:rPr lang="fr-FR" b="1" dirty="0">
                <a:ea typeface="Calibri" panose="020F0502020204030204" pitchFamily="34" charset="0"/>
              </a:rPr>
              <a:t> if </a:t>
            </a:r>
            <a:r>
              <a:rPr lang="fr-FR" b="1" dirty="0" err="1">
                <a:ea typeface="Calibri" panose="020F0502020204030204" pitchFamily="34" charset="0"/>
              </a:rPr>
              <a:t>you</a:t>
            </a:r>
            <a:r>
              <a:rPr lang="fr-FR" b="1" dirty="0">
                <a:ea typeface="Calibri" panose="020F0502020204030204" pitchFamily="34" charset="0"/>
              </a:rPr>
              <a:t> </a:t>
            </a:r>
            <a:r>
              <a:rPr lang="fr-FR" b="1" dirty="0" err="1">
                <a:ea typeface="Calibri" panose="020F0502020204030204" pitchFamily="34" charset="0"/>
              </a:rPr>
              <a:t>want</a:t>
            </a:r>
            <a:r>
              <a:rPr lang="fr-FR" b="1" dirty="0">
                <a:ea typeface="Calibri" panose="020F0502020204030204" pitchFamily="34" charset="0"/>
              </a:rPr>
              <a:t> to </a:t>
            </a:r>
            <a:r>
              <a:rPr lang="fr-FR" b="1" dirty="0" err="1">
                <a:ea typeface="Calibri" panose="020F0502020204030204" pitchFamily="34" charset="0"/>
              </a:rPr>
              <a:t>schedule</a:t>
            </a:r>
            <a:r>
              <a:rPr lang="fr-FR" b="1" dirty="0">
                <a:ea typeface="Calibri" panose="020F0502020204030204" pitchFamily="34" charset="0"/>
              </a:rPr>
              <a:t> a meeting.</a:t>
            </a:r>
          </a:p>
          <a:p>
            <a:pPr marL="742950" lvl="1" indent="-285750">
              <a:buFont typeface="Arial" panose="020B0604020202020204" pitchFamily="34" charset="0"/>
              <a:buChar char="•"/>
            </a:pPr>
            <a:r>
              <a:rPr lang="fr-FR" dirty="0">
                <a:ea typeface="Calibri" panose="020F0502020204030204" pitchFamily="34" charset="0"/>
              </a:rPr>
              <a:t>Not </a:t>
            </a:r>
            <a:r>
              <a:rPr lang="fr-FR" dirty="0" err="1">
                <a:ea typeface="Calibri" panose="020F0502020204030204" pitchFamily="34" charset="0"/>
              </a:rPr>
              <a:t>mandatory</a:t>
            </a:r>
            <a:r>
              <a:rPr lang="fr-FR" dirty="0">
                <a:ea typeface="Calibri" panose="020F0502020204030204" pitchFamily="34" charset="0"/>
              </a:rPr>
              <a:t> but </a:t>
            </a:r>
            <a:r>
              <a:rPr lang="fr-FR" dirty="0" err="1">
                <a:ea typeface="Calibri" panose="020F0502020204030204" pitchFamily="34" charset="0"/>
              </a:rPr>
              <a:t>available</a:t>
            </a:r>
            <a:r>
              <a:rPr lang="fr-FR" dirty="0">
                <a:ea typeface="Calibri" panose="020F0502020204030204" pitchFamily="34" charset="0"/>
              </a:rPr>
              <a:t> : </a:t>
            </a:r>
            <a:r>
              <a:rPr lang="fr-FR" dirty="0" err="1">
                <a:ea typeface="Calibri" panose="020F0502020204030204" pitchFamily="34" charset="0"/>
              </a:rPr>
              <a:t>send</a:t>
            </a:r>
            <a:r>
              <a:rPr lang="fr-FR" dirty="0">
                <a:ea typeface="Calibri" panose="020F0502020204030204" pitchFamily="34" charset="0"/>
              </a:rPr>
              <a:t> me an email the </a:t>
            </a:r>
            <a:r>
              <a:rPr lang="fr-FR" dirty="0" err="1">
                <a:ea typeface="Calibri" panose="020F0502020204030204" pitchFamily="34" charset="0"/>
              </a:rPr>
              <a:t>day</a:t>
            </a:r>
            <a:r>
              <a:rPr lang="fr-FR" dirty="0">
                <a:ea typeface="Calibri" panose="020F0502020204030204" pitchFamily="34" charset="0"/>
              </a:rPr>
              <a:t> </a:t>
            </a:r>
            <a:r>
              <a:rPr lang="fr-FR" dirty="0" err="1">
                <a:ea typeface="Calibri" panose="020F0502020204030204" pitchFamily="34" charset="0"/>
              </a:rPr>
              <a:t>before</a:t>
            </a:r>
            <a:r>
              <a:rPr lang="fr-FR" dirty="0">
                <a:ea typeface="Calibri" panose="020F0502020204030204" pitchFamily="34" charset="0"/>
              </a:rPr>
              <a:t> and I </a:t>
            </a:r>
            <a:r>
              <a:rPr lang="fr-FR" dirty="0" err="1">
                <a:ea typeface="Calibri" panose="020F0502020204030204" pitchFamily="34" charset="0"/>
              </a:rPr>
              <a:t>will</a:t>
            </a:r>
            <a:r>
              <a:rPr lang="fr-FR" dirty="0">
                <a:ea typeface="Calibri" panose="020F0502020204030204" pitchFamily="34" charset="0"/>
              </a:rPr>
              <a:t> </a:t>
            </a:r>
            <a:r>
              <a:rPr lang="fr-FR" dirty="0" err="1">
                <a:ea typeface="Calibri" panose="020F0502020204030204" pitchFamily="34" charset="0"/>
              </a:rPr>
              <a:t>share</a:t>
            </a:r>
            <a:r>
              <a:rPr lang="fr-FR" dirty="0">
                <a:ea typeface="Calibri" panose="020F0502020204030204" pitchFamily="34" charset="0"/>
              </a:rPr>
              <a:t> a Teams </a:t>
            </a:r>
            <a:r>
              <a:rPr lang="fr-FR" dirty="0" err="1">
                <a:ea typeface="Calibri" panose="020F0502020204030204" pitchFamily="34" charset="0"/>
              </a:rPr>
              <a:t>link</a:t>
            </a:r>
            <a:r>
              <a:rPr lang="fr-FR" dirty="0">
                <a:ea typeface="Calibri" panose="020F0502020204030204" pitchFamily="34" charset="0"/>
              </a:rPr>
              <a:t> for an online meeting if </a:t>
            </a:r>
            <a:r>
              <a:rPr lang="fr-FR" dirty="0" err="1">
                <a:ea typeface="Calibri" panose="020F0502020204030204" pitchFamily="34" charset="0"/>
              </a:rPr>
              <a:t>needed</a:t>
            </a:r>
            <a:endParaRPr lang="fr-FR" dirty="0">
              <a:ea typeface="Calibri" panose="020F0502020204030204" pitchFamily="34" charset="0"/>
            </a:endParaRPr>
          </a:p>
          <a:p>
            <a:pPr marL="742950" lvl="1" indent="-285750">
              <a:buFont typeface="Arial" panose="020B0604020202020204" pitchFamily="34" charset="0"/>
              <a:buChar char="•"/>
            </a:pPr>
            <a:endParaRPr lang="fr-FR" dirty="0">
              <a:ea typeface="Calibri" panose="020F0502020204030204" pitchFamily="34" charset="0"/>
            </a:endParaRPr>
          </a:p>
          <a:p>
            <a:pPr marL="285750" indent="-285750">
              <a:buFont typeface="Arial" panose="020B0604020202020204" pitchFamily="34" charset="0"/>
              <a:buChar char="•"/>
            </a:pPr>
            <a:r>
              <a:rPr lang="fr-FR" dirty="0" err="1">
                <a:ea typeface="Calibri" panose="020F0502020204030204" pitchFamily="34" charset="0"/>
              </a:rPr>
              <a:t>Milestones</a:t>
            </a:r>
            <a:r>
              <a:rPr lang="fr-FR" dirty="0">
                <a:ea typeface="Calibri" panose="020F0502020204030204" pitchFamily="34" charset="0"/>
              </a:rPr>
              <a:t> to </a:t>
            </a:r>
            <a:r>
              <a:rPr lang="fr-FR" dirty="0" err="1">
                <a:ea typeface="Calibri" panose="020F0502020204030204" pitchFamily="34" charset="0"/>
              </a:rPr>
              <a:t>share</a:t>
            </a:r>
            <a:r>
              <a:rPr lang="fr-FR" dirty="0">
                <a:ea typeface="Calibri" panose="020F0502020204030204" pitchFamily="34" charset="0"/>
              </a:rPr>
              <a:t> </a:t>
            </a:r>
            <a:r>
              <a:rPr lang="fr-FR" dirty="0" err="1">
                <a:ea typeface="Calibri" panose="020F0502020204030204" pitchFamily="34" charset="0"/>
              </a:rPr>
              <a:t>progress</a:t>
            </a:r>
            <a:r>
              <a:rPr lang="fr-FR" dirty="0">
                <a:ea typeface="Calibri" panose="020F0502020204030204" pitchFamily="34" charset="0"/>
              </a:rPr>
              <a:t> on items</a:t>
            </a:r>
          </a:p>
          <a:p>
            <a:pPr marL="742950" lvl="1" indent="-285750">
              <a:buFont typeface="Arial" panose="020B0604020202020204" pitchFamily="34" charset="0"/>
              <a:buChar char="•"/>
            </a:pPr>
            <a:r>
              <a:rPr lang="fr-FR" dirty="0">
                <a:ea typeface="Calibri" panose="020F0502020204030204" pitchFamily="34" charset="0"/>
              </a:rPr>
              <a:t>Not </a:t>
            </a:r>
            <a:r>
              <a:rPr lang="fr-FR" dirty="0" err="1">
                <a:ea typeface="Calibri" panose="020F0502020204030204" pitchFamily="34" charset="0"/>
              </a:rPr>
              <a:t>mandatory</a:t>
            </a:r>
            <a:r>
              <a:rPr lang="fr-FR" dirty="0">
                <a:ea typeface="Calibri" panose="020F0502020204030204" pitchFamily="34" charset="0"/>
              </a:rPr>
              <a:t> but </a:t>
            </a:r>
            <a:r>
              <a:rPr lang="fr-FR" dirty="0" err="1">
                <a:ea typeface="Calibri" panose="020F0502020204030204" pitchFamily="34" charset="0"/>
              </a:rPr>
              <a:t>available</a:t>
            </a:r>
            <a:r>
              <a:rPr lang="fr-FR" dirty="0">
                <a:ea typeface="Calibri" panose="020F0502020204030204" pitchFamily="34" charset="0"/>
              </a:rPr>
              <a:t> : dates to plan at the end of </a:t>
            </a:r>
            <a:r>
              <a:rPr lang="fr-FR" dirty="0" err="1">
                <a:ea typeface="Calibri" panose="020F0502020204030204" pitchFamily="34" charset="0"/>
              </a:rPr>
              <a:t>each</a:t>
            </a:r>
            <a:r>
              <a:rPr lang="fr-FR" dirty="0">
                <a:ea typeface="Calibri" panose="020F0502020204030204" pitchFamily="34" charset="0"/>
              </a:rPr>
              <a:t> item. </a:t>
            </a:r>
            <a:r>
              <a:rPr lang="fr-FR" b="1" dirty="0" err="1">
                <a:ea typeface="Calibri" panose="020F0502020204030204" pitchFamily="34" charset="0"/>
              </a:rPr>
              <a:t>Send</a:t>
            </a:r>
            <a:r>
              <a:rPr lang="fr-FR" b="1" dirty="0">
                <a:ea typeface="Calibri" panose="020F0502020204030204" pitchFamily="34" charset="0"/>
              </a:rPr>
              <a:t> me </a:t>
            </a:r>
            <a:r>
              <a:rPr lang="fr-FR" b="1" dirty="0" err="1">
                <a:ea typeface="Calibri" panose="020F0502020204030204" pitchFamily="34" charset="0"/>
              </a:rPr>
              <a:t>your</a:t>
            </a:r>
            <a:r>
              <a:rPr lang="fr-FR" b="1" dirty="0">
                <a:ea typeface="Calibri" panose="020F0502020204030204" pitchFamily="34" charset="0"/>
              </a:rPr>
              <a:t> team </a:t>
            </a:r>
            <a:r>
              <a:rPr lang="fr-FR" b="1" dirty="0" err="1">
                <a:ea typeface="Calibri" panose="020F0502020204030204" pitchFamily="34" charset="0"/>
              </a:rPr>
              <a:t>availabilities</a:t>
            </a:r>
            <a:r>
              <a:rPr lang="fr-FR" b="1" dirty="0">
                <a:ea typeface="Calibri" panose="020F0502020204030204" pitchFamily="34" charset="0"/>
              </a:rPr>
              <a:t> if </a:t>
            </a:r>
            <a:r>
              <a:rPr lang="fr-FR" b="1" dirty="0" err="1">
                <a:ea typeface="Calibri" panose="020F0502020204030204" pitchFamily="34" charset="0"/>
              </a:rPr>
              <a:t>you</a:t>
            </a:r>
            <a:r>
              <a:rPr lang="fr-FR" b="1" dirty="0">
                <a:ea typeface="Calibri" panose="020F0502020204030204" pitchFamily="34" charset="0"/>
              </a:rPr>
              <a:t> </a:t>
            </a:r>
            <a:r>
              <a:rPr lang="fr-FR" b="1" dirty="0" err="1">
                <a:ea typeface="Calibri" panose="020F0502020204030204" pitchFamily="34" charset="0"/>
              </a:rPr>
              <a:t>want</a:t>
            </a:r>
            <a:r>
              <a:rPr lang="fr-FR" b="1" dirty="0">
                <a:ea typeface="Calibri" panose="020F0502020204030204" pitchFamily="34" charset="0"/>
              </a:rPr>
              <a:t> to </a:t>
            </a:r>
            <a:r>
              <a:rPr lang="fr-FR" b="1" dirty="0" err="1">
                <a:ea typeface="Calibri" panose="020F0502020204030204" pitchFamily="34" charset="0"/>
              </a:rPr>
              <a:t>schedule</a:t>
            </a:r>
            <a:r>
              <a:rPr lang="fr-FR" b="1" dirty="0">
                <a:ea typeface="Calibri" panose="020F0502020204030204" pitchFamily="34" charset="0"/>
              </a:rPr>
              <a:t> a meeting.</a:t>
            </a:r>
          </a:p>
          <a:p>
            <a:pPr marL="742950" lvl="1" indent="-285750">
              <a:buFont typeface="Arial" panose="020B0604020202020204" pitchFamily="34" charset="0"/>
              <a:buChar char="•"/>
            </a:pPr>
            <a:endParaRPr lang="fr-FR" b="1" dirty="0">
              <a:ea typeface="Calibri" panose="020F0502020204030204" pitchFamily="34" charset="0"/>
            </a:endParaRPr>
          </a:p>
          <a:p>
            <a:pPr marL="285750" indent="-285750">
              <a:buFont typeface="Arial" panose="020B0604020202020204" pitchFamily="34" charset="0"/>
              <a:buChar char="•"/>
            </a:pPr>
            <a:r>
              <a:rPr lang="fr-FR" b="1" dirty="0">
                <a:solidFill>
                  <a:srgbClr val="FF0000"/>
                </a:solidFill>
                <a:ea typeface="Calibri" panose="020F0502020204030204" pitchFamily="34" charset="0"/>
              </a:rPr>
              <a:t>I </a:t>
            </a:r>
            <a:r>
              <a:rPr lang="fr-FR" b="1" dirty="0" err="1">
                <a:solidFill>
                  <a:srgbClr val="FF0000"/>
                </a:solidFill>
                <a:ea typeface="Calibri" panose="020F0502020204030204" pitchFamily="34" charset="0"/>
              </a:rPr>
              <a:t>will</a:t>
            </a:r>
            <a:r>
              <a:rPr lang="fr-FR" b="1" dirty="0">
                <a:solidFill>
                  <a:srgbClr val="FF0000"/>
                </a:solidFill>
                <a:ea typeface="Calibri" panose="020F0502020204030204" pitchFamily="34" charset="0"/>
              </a:rPr>
              <a:t> not </a:t>
            </a:r>
            <a:r>
              <a:rPr lang="fr-FR" b="1" dirty="0" err="1">
                <a:solidFill>
                  <a:srgbClr val="FF0000"/>
                </a:solidFill>
                <a:ea typeface="Calibri" panose="020F0502020204030204" pitchFamily="34" charset="0"/>
              </a:rPr>
              <a:t>be</a:t>
            </a:r>
            <a:r>
              <a:rPr lang="fr-FR" b="1" dirty="0">
                <a:solidFill>
                  <a:srgbClr val="FF0000"/>
                </a:solidFill>
                <a:ea typeface="Calibri" panose="020F0502020204030204" pitchFamily="34" charset="0"/>
              </a:rPr>
              <a:t> </a:t>
            </a:r>
            <a:r>
              <a:rPr lang="fr-FR" b="1" dirty="0" err="1">
                <a:solidFill>
                  <a:srgbClr val="FF0000"/>
                </a:solidFill>
                <a:ea typeface="Calibri" panose="020F0502020204030204" pitchFamily="34" charset="0"/>
              </a:rPr>
              <a:t>available</a:t>
            </a:r>
            <a:r>
              <a:rPr lang="fr-FR" b="1" dirty="0">
                <a:solidFill>
                  <a:srgbClr val="FF0000"/>
                </a:solidFill>
                <a:ea typeface="Calibri" panose="020F0502020204030204" pitchFamily="34" charset="0"/>
              </a:rPr>
              <a:t> </a:t>
            </a:r>
            <a:r>
              <a:rPr lang="fr-FR" b="1" dirty="0" err="1">
                <a:solidFill>
                  <a:srgbClr val="FF0000"/>
                </a:solidFill>
                <a:ea typeface="Calibri" panose="020F0502020204030204" pitchFamily="34" charset="0"/>
              </a:rPr>
              <a:t>from</a:t>
            </a:r>
            <a:r>
              <a:rPr lang="fr-FR" b="1" dirty="0">
                <a:solidFill>
                  <a:srgbClr val="FF0000"/>
                </a:solidFill>
                <a:ea typeface="Calibri" panose="020F0502020204030204" pitchFamily="34" charset="0"/>
              </a:rPr>
              <a:t> June 1st to 12th. </a:t>
            </a:r>
            <a:r>
              <a:rPr lang="fr-FR" b="1" dirty="0" err="1">
                <a:solidFill>
                  <a:srgbClr val="FF0000"/>
                </a:solidFill>
                <a:ea typeface="Calibri" panose="020F0502020204030204" pitchFamily="34" charset="0"/>
              </a:rPr>
              <a:t>Please</a:t>
            </a:r>
            <a:r>
              <a:rPr lang="fr-FR" b="1" dirty="0">
                <a:solidFill>
                  <a:srgbClr val="FF0000"/>
                </a:solidFill>
                <a:ea typeface="Calibri" panose="020F0502020204030204" pitchFamily="34" charset="0"/>
              </a:rPr>
              <a:t> </a:t>
            </a:r>
            <a:r>
              <a:rPr lang="fr-FR" b="1" dirty="0" err="1">
                <a:solidFill>
                  <a:srgbClr val="FF0000"/>
                </a:solidFill>
                <a:ea typeface="Calibri" panose="020F0502020204030204" pitchFamily="34" charset="0"/>
              </a:rPr>
              <a:t>send</a:t>
            </a:r>
            <a:r>
              <a:rPr lang="fr-FR" b="1" dirty="0">
                <a:solidFill>
                  <a:srgbClr val="FF0000"/>
                </a:solidFill>
                <a:ea typeface="Calibri" panose="020F0502020204030204" pitchFamily="34" charset="0"/>
              </a:rPr>
              <a:t> me </a:t>
            </a:r>
            <a:r>
              <a:rPr lang="fr-FR" b="1" dirty="0" err="1">
                <a:solidFill>
                  <a:srgbClr val="FF0000"/>
                </a:solidFill>
                <a:ea typeface="Calibri" panose="020F0502020204030204" pitchFamily="34" charset="0"/>
              </a:rPr>
              <a:t>your</a:t>
            </a:r>
            <a:r>
              <a:rPr lang="fr-FR" b="1" dirty="0">
                <a:solidFill>
                  <a:srgbClr val="FF0000"/>
                </a:solidFill>
                <a:ea typeface="Calibri" panose="020F0502020204030204" pitchFamily="34" charset="0"/>
              </a:rPr>
              <a:t> </a:t>
            </a:r>
            <a:r>
              <a:rPr lang="fr-FR" b="1" dirty="0" err="1">
                <a:solidFill>
                  <a:srgbClr val="FF0000"/>
                </a:solidFill>
                <a:ea typeface="Calibri" panose="020F0502020204030204" pitchFamily="34" charset="0"/>
              </a:rPr>
              <a:t>availabilities</a:t>
            </a:r>
            <a:r>
              <a:rPr lang="fr-FR" b="1" dirty="0">
                <a:solidFill>
                  <a:srgbClr val="FF0000"/>
                </a:solidFill>
                <a:ea typeface="Calibri" panose="020F0502020204030204" pitchFamily="34" charset="0"/>
              </a:rPr>
              <a:t> for an end of </a:t>
            </a:r>
            <a:r>
              <a:rPr lang="fr-FR" b="1" dirty="0" err="1">
                <a:solidFill>
                  <a:srgbClr val="FF0000"/>
                </a:solidFill>
                <a:ea typeface="Calibri" panose="020F0502020204030204" pitchFamily="34" charset="0"/>
              </a:rPr>
              <a:t>project</a:t>
            </a:r>
            <a:r>
              <a:rPr lang="fr-FR" b="1" dirty="0">
                <a:solidFill>
                  <a:srgbClr val="FF0000"/>
                </a:solidFill>
                <a:ea typeface="Calibri" panose="020F0502020204030204" pitchFamily="34" charset="0"/>
              </a:rPr>
              <a:t> meeting </a:t>
            </a:r>
            <a:r>
              <a:rPr lang="fr-FR" b="1" dirty="0" err="1">
                <a:solidFill>
                  <a:srgbClr val="FF0000"/>
                </a:solidFill>
                <a:ea typeface="Calibri" panose="020F0502020204030204" pitchFamily="34" charset="0"/>
              </a:rPr>
              <a:t>with</a:t>
            </a:r>
            <a:r>
              <a:rPr lang="fr-FR" b="1" dirty="0">
                <a:solidFill>
                  <a:srgbClr val="FF0000"/>
                </a:solidFill>
                <a:ea typeface="Calibri" panose="020F0502020204030204" pitchFamily="34" charset="0"/>
              </a:rPr>
              <a:t> me to </a:t>
            </a:r>
            <a:r>
              <a:rPr lang="fr-FR" b="1" dirty="0" err="1">
                <a:solidFill>
                  <a:srgbClr val="FF0000"/>
                </a:solidFill>
                <a:ea typeface="Calibri" panose="020F0502020204030204" pitchFamily="34" charset="0"/>
              </a:rPr>
              <a:t>organize</a:t>
            </a:r>
            <a:r>
              <a:rPr lang="fr-FR" b="1" dirty="0">
                <a:solidFill>
                  <a:srgbClr val="FF0000"/>
                </a:solidFill>
                <a:ea typeface="Calibri" panose="020F0502020204030204" pitchFamily="34" charset="0"/>
              </a:rPr>
              <a:t> </a:t>
            </a:r>
            <a:r>
              <a:rPr lang="fr-FR" b="1" dirty="0" err="1">
                <a:solidFill>
                  <a:srgbClr val="FF0000"/>
                </a:solidFill>
                <a:ea typeface="Calibri" panose="020F0502020204030204" pitchFamily="34" charset="0"/>
              </a:rPr>
              <a:t>your</a:t>
            </a:r>
            <a:r>
              <a:rPr lang="fr-FR" b="1" dirty="0">
                <a:solidFill>
                  <a:srgbClr val="FF0000"/>
                </a:solidFill>
                <a:ea typeface="Calibri" panose="020F0502020204030204" pitchFamily="34" charset="0"/>
              </a:rPr>
              <a:t> </a:t>
            </a:r>
            <a:r>
              <a:rPr lang="fr-FR" b="1" dirty="0" err="1">
                <a:solidFill>
                  <a:srgbClr val="FF0000"/>
                </a:solidFill>
                <a:ea typeface="Calibri" panose="020F0502020204030204" pitchFamily="34" charset="0"/>
              </a:rPr>
              <a:t>presentations</a:t>
            </a:r>
            <a:r>
              <a:rPr lang="fr-FR" b="1" dirty="0">
                <a:solidFill>
                  <a:srgbClr val="FF0000"/>
                </a:solidFill>
                <a:ea typeface="Calibri" panose="020F0502020204030204" pitchFamily="34" charset="0"/>
              </a:rPr>
              <a:t>.</a:t>
            </a:r>
          </a:p>
          <a:p>
            <a:pPr marL="742950" lvl="1" indent="-285750">
              <a:buFont typeface="Arial" panose="020B0604020202020204" pitchFamily="34" charset="0"/>
              <a:buChar char="•"/>
            </a:pPr>
            <a:endParaRPr lang="fr-FR" dirty="0">
              <a:ea typeface="Calibri" panose="020F0502020204030204" pitchFamily="34" charset="0"/>
            </a:endParaRPr>
          </a:p>
          <a:p>
            <a:pPr marL="285750" indent="-285750">
              <a:buFont typeface="Arial" panose="020B0604020202020204" pitchFamily="34" charset="0"/>
              <a:buChar char="•"/>
            </a:pPr>
            <a:endParaRPr lang="fr-FR" dirty="0">
              <a:ea typeface="Calibri" panose="020F0502020204030204" pitchFamily="34" charset="0"/>
            </a:endParaRPr>
          </a:p>
        </p:txBody>
      </p:sp>
      <p:sp>
        <p:nvSpPr>
          <p:cNvPr id="6" name="Espace réservé du numéro de diapositive 5">
            <a:extLst>
              <a:ext uri="{FF2B5EF4-FFF2-40B4-BE49-F238E27FC236}">
                <a16:creationId xmlns:a16="http://schemas.microsoft.com/office/drawing/2014/main" id="{EC9D517D-70A7-51E5-CA4E-DCE743F41F1A}"/>
              </a:ext>
            </a:extLst>
          </p:cNvPr>
          <p:cNvSpPr>
            <a:spLocks noGrp="1"/>
          </p:cNvSpPr>
          <p:nvPr>
            <p:ph type="sldNum" sz="quarter" idx="18"/>
          </p:nvPr>
        </p:nvSpPr>
        <p:spPr/>
        <p:txBody>
          <a:bodyPr/>
          <a:lstStyle/>
          <a:p>
            <a:fld id="{E9F690C6-F4CD-4FC2-95DF-E832AE3B8C23}" type="slidenum">
              <a:rPr lang="fr-FR" smtClean="0"/>
              <a:pPr/>
              <a:t>17</a:t>
            </a:fld>
            <a:endParaRPr lang="fr-FR"/>
          </a:p>
        </p:txBody>
      </p:sp>
    </p:spTree>
    <p:extLst>
      <p:ext uri="{BB962C8B-B14F-4D97-AF65-F5344CB8AC3E}">
        <p14:creationId xmlns:p14="http://schemas.microsoft.com/office/powerpoint/2010/main" val="372113986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52B8373-62D1-544B-7A5C-41B622D6A38F}"/>
              </a:ext>
            </a:extLst>
          </p:cNvPr>
          <p:cNvSpPr>
            <a:spLocks noGrp="1"/>
          </p:cNvSpPr>
          <p:nvPr>
            <p:ph type="title"/>
          </p:nvPr>
        </p:nvSpPr>
        <p:spPr>
          <a:xfrm>
            <a:off x="874684" y="197440"/>
            <a:ext cx="5335616" cy="649922"/>
          </a:xfrm>
        </p:spPr>
        <p:txBody>
          <a:bodyPr/>
          <a:lstStyle/>
          <a:p>
            <a:r>
              <a:rPr lang="fr-FR" dirty="0"/>
              <a:t>Contact</a:t>
            </a:r>
          </a:p>
        </p:txBody>
      </p:sp>
      <p:sp>
        <p:nvSpPr>
          <p:cNvPr id="6" name="Espace réservé du numéro de diapositive 5">
            <a:extLst>
              <a:ext uri="{FF2B5EF4-FFF2-40B4-BE49-F238E27FC236}">
                <a16:creationId xmlns:a16="http://schemas.microsoft.com/office/drawing/2014/main" id="{EC9D517D-70A7-51E5-CA4E-DCE743F41F1A}"/>
              </a:ext>
            </a:extLst>
          </p:cNvPr>
          <p:cNvSpPr>
            <a:spLocks noGrp="1"/>
          </p:cNvSpPr>
          <p:nvPr>
            <p:ph type="sldNum" sz="quarter" idx="18"/>
          </p:nvPr>
        </p:nvSpPr>
        <p:spPr/>
        <p:txBody>
          <a:bodyPr/>
          <a:lstStyle/>
          <a:p>
            <a:fld id="{E9F690C6-F4CD-4FC2-95DF-E832AE3B8C23}" type="slidenum">
              <a:rPr lang="fr-FR" smtClean="0"/>
              <a:pPr/>
              <a:t>18</a:t>
            </a:fld>
            <a:endParaRPr lang="fr-FR"/>
          </a:p>
        </p:txBody>
      </p:sp>
      <p:sp>
        <p:nvSpPr>
          <p:cNvPr id="8" name="Espace réservé du texte 3">
            <a:extLst>
              <a:ext uri="{FF2B5EF4-FFF2-40B4-BE49-F238E27FC236}">
                <a16:creationId xmlns:a16="http://schemas.microsoft.com/office/drawing/2014/main" id="{15A4040C-50A3-5593-AB6E-492E3D6866BA}"/>
              </a:ext>
            </a:extLst>
          </p:cNvPr>
          <p:cNvSpPr>
            <a:spLocks noGrp="1"/>
          </p:cNvSpPr>
          <p:nvPr>
            <p:ph type="body" sz="quarter" idx="16"/>
          </p:nvPr>
        </p:nvSpPr>
        <p:spPr>
          <a:xfrm>
            <a:off x="677891" y="976545"/>
            <a:ext cx="5418109" cy="5047992"/>
          </a:xfrm>
        </p:spPr>
        <p:txBody>
          <a:bodyPr/>
          <a:lstStyle/>
          <a:p>
            <a:pPr marL="285750" indent="-285750" algn="just">
              <a:lnSpc>
                <a:spcPct val="115000"/>
              </a:lnSpc>
              <a:buFont typeface="Arial" panose="020B0604020202020204" pitchFamily="34" charset="0"/>
              <a:buChar char="•"/>
            </a:pPr>
            <a:r>
              <a:rPr lang="fr-FR" dirty="0">
                <a:ea typeface="Calibri" panose="020F0502020204030204" pitchFamily="34" charset="0"/>
              </a:rPr>
              <a:t>For </a:t>
            </a:r>
            <a:r>
              <a:rPr lang="fr-FR" dirty="0" err="1">
                <a:ea typeface="Calibri" panose="020F0502020204030204" pitchFamily="34" charset="0"/>
              </a:rPr>
              <a:t>specific</a:t>
            </a:r>
            <a:r>
              <a:rPr lang="fr-FR" dirty="0">
                <a:ea typeface="Calibri" panose="020F0502020204030204" pitchFamily="34" charset="0"/>
              </a:rPr>
              <a:t> </a:t>
            </a:r>
            <a:r>
              <a:rPr lang="fr-FR" dirty="0" err="1">
                <a:ea typeface="Calibri" panose="020F0502020204030204" pitchFamily="34" charset="0"/>
              </a:rPr>
              <a:t>inquiries</a:t>
            </a:r>
            <a:r>
              <a:rPr lang="fr-FR" dirty="0">
                <a:ea typeface="Calibri" panose="020F0502020204030204" pitchFamily="34" charset="0"/>
              </a:rPr>
              <a:t>, </a:t>
            </a:r>
            <a:r>
              <a:rPr lang="fr-FR" dirty="0" err="1">
                <a:ea typeface="Calibri" panose="020F0502020204030204" pitchFamily="34" charset="0"/>
              </a:rPr>
              <a:t>additional</a:t>
            </a:r>
            <a:r>
              <a:rPr lang="fr-FR" dirty="0">
                <a:ea typeface="Calibri" panose="020F0502020204030204" pitchFamily="34" charset="0"/>
              </a:rPr>
              <a:t> displays or more </a:t>
            </a:r>
            <a:r>
              <a:rPr lang="fr-FR" dirty="0" err="1">
                <a:ea typeface="Calibri" panose="020F0502020204030204" pitchFamily="34" charset="0"/>
              </a:rPr>
              <a:t>details</a:t>
            </a:r>
            <a:r>
              <a:rPr lang="fr-FR" dirty="0">
                <a:ea typeface="Calibri" panose="020F0502020204030204" pitchFamily="34" charset="0"/>
              </a:rPr>
              <a:t>, </a:t>
            </a:r>
            <a:r>
              <a:rPr lang="fr-FR" dirty="0" err="1">
                <a:ea typeface="Calibri" panose="020F0502020204030204" pitchFamily="34" charset="0"/>
              </a:rPr>
              <a:t>please</a:t>
            </a:r>
            <a:r>
              <a:rPr lang="fr-FR" dirty="0">
                <a:ea typeface="Calibri" panose="020F0502020204030204" pitchFamily="34" charset="0"/>
              </a:rPr>
              <a:t> email me at : </a:t>
            </a:r>
          </a:p>
          <a:p>
            <a:pPr algn="just">
              <a:lnSpc>
                <a:spcPct val="115000"/>
              </a:lnSpc>
            </a:pPr>
            <a:endParaRPr lang="fr-FR" dirty="0">
              <a:ea typeface="Calibri" panose="020F0502020204030204" pitchFamily="34" charset="0"/>
            </a:endParaRPr>
          </a:p>
          <a:p>
            <a:pPr algn="just">
              <a:lnSpc>
                <a:spcPct val="115000"/>
              </a:lnSpc>
            </a:pPr>
            <a:r>
              <a:rPr lang="fr-FR" dirty="0">
                <a:ea typeface="Calibri" panose="020F0502020204030204" pitchFamily="34" charset="0"/>
                <a:hlinkClick r:id="rId2"/>
              </a:rPr>
              <a:t>pierre.chavanne@totalenergies.com</a:t>
            </a:r>
            <a:endParaRPr lang="fr-FR" dirty="0">
              <a:ea typeface="Calibri" panose="020F0502020204030204" pitchFamily="34" charset="0"/>
            </a:endParaRPr>
          </a:p>
          <a:p>
            <a:pPr algn="just">
              <a:lnSpc>
                <a:spcPct val="115000"/>
              </a:lnSpc>
            </a:pPr>
            <a:endParaRPr lang="fr-FR" dirty="0">
              <a:ea typeface="Calibri" panose="020F0502020204030204" pitchFamily="34" charset="0"/>
            </a:endParaRPr>
          </a:p>
          <a:p>
            <a:pPr algn="just">
              <a:lnSpc>
                <a:spcPct val="115000"/>
              </a:lnSpc>
            </a:pPr>
            <a:endParaRPr lang="fr-FR" dirty="0">
              <a:ea typeface="Calibri" panose="020F0502020204030204" pitchFamily="34" charset="0"/>
            </a:endParaRPr>
          </a:p>
          <a:p>
            <a:pPr marL="285750" indent="-285750" algn="just">
              <a:lnSpc>
                <a:spcPct val="115000"/>
              </a:lnSpc>
              <a:buFont typeface="Arial" panose="020B0604020202020204" pitchFamily="34" charset="0"/>
              <a:buChar char="•"/>
            </a:pPr>
            <a:r>
              <a:rPr lang="fr-FR" dirty="0">
                <a:ea typeface="Calibri" panose="020F0502020204030204" pitchFamily="34" charset="0"/>
              </a:rPr>
              <a:t>If </a:t>
            </a:r>
            <a:r>
              <a:rPr lang="fr-FR" dirty="0" err="1">
                <a:ea typeface="Calibri" panose="020F0502020204030204" pitchFamily="34" charset="0"/>
              </a:rPr>
              <a:t>you</a:t>
            </a:r>
            <a:r>
              <a:rPr lang="fr-FR" dirty="0">
                <a:ea typeface="Calibri" panose="020F0502020204030204" pitchFamily="34" charset="0"/>
              </a:rPr>
              <a:t> </a:t>
            </a:r>
            <a:r>
              <a:rPr lang="fr-FR" dirty="0" err="1">
                <a:ea typeface="Calibri" panose="020F0502020204030204" pitchFamily="34" charset="0"/>
              </a:rPr>
              <a:t>want</a:t>
            </a:r>
            <a:r>
              <a:rPr lang="fr-FR" dirty="0">
                <a:ea typeface="Calibri" panose="020F0502020204030204" pitchFamily="34" charset="0"/>
              </a:rPr>
              <a:t> to </a:t>
            </a:r>
            <a:r>
              <a:rPr lang="fr-FR" dirty="0" err="1">
                <a:ea typeface="Calibri" panose="020F0502020204030204" pitchFamily="34" charset="0"/>
              </a:rPr>
              <a:t>work</a:t>
            </a:r>
            <a:r>
              <a:rPr lang="fr-FR" dirty="0">
                <a:ea typeface="Calibri" panose="020F0502020204030204" pitchFamily="34" charset="0"/>
              </a:rPr>
              <a:t> </a:t>
            </a:r>
            <a:r>
              <a:rPr lang="fr-FR" dirty="0" err="1">
                <a:ea typeface="Calibri" panose="020F0502020204030204" pitchFamily="34" charset="0"/>
              </a:rPr>
              <a:t>further</a:t>
            </a:r>
            <a:r>
              <a:rPr lang="fr-FR" dirty="0">
                <a:ea typeface="Calibri" panose="020F0502020204030204" pitchFamily="34" charset="0"/>
              </a:rPr>
              <a:t> </a:t>
            </a:r>
            <a:r>
              <a:rPr lang="fr-FR" dirty="0" err="1">
                <a:ea typeface="Calibri" panose="020F0502020204030204" pitchFamily="34" charset="0"/>
              </a:rPr>
              <a:t>using</a:t>
            </a:r>
            <a:r>
              <a:rPr lang="fr-FR" dirty="0">
                <a:ea typeface="Calibri" panose="020F0502020204030204" pitchFamily="34" charset="0"/>
              </a:rPr>
              <a:t> </a:t>
            </a:r>
            <a:r>
              <a:rPr lang="fr-FR" dirty="0" err="1">
                <a:ea typeface="Calibri" panose="020F0502020204030204" pitchFamily="34" charset="0"/>
              </a:rPr>
              <a:t>these</a:t>
            </a:r>
            <a:r>
              <a:rPr lang="fr-FR" dirty="0">
                <a:ea typeface="Calibri" panose="020F0502020204030204" pitchFamily="34" charset="0"/>
              </a:rPr>
              <a:t> data, </a:t>
            </a:r>
            <a:r>
              <a:rPr lang="fr-FR" dirty="0" err="1">
                <a:ea typeface="Calibri" panose="020F0502020204030204" pitchFamily="34" charset="0"/>
              </a:rPr>
              <a:t>please</a:t>
            </a:r>
            <a:r>
              <a:rPr lang="fr-FR" dirty="0">
                <a:ea typeface="Calibri" panose="020F0502020204030204" pitchFamily="34" charset="0"/>
              </a:rPr>
              <a:t> </a:t>
            </a:r>
            <a:r>
              <a:rPr lang="fr-FR" dirty="0" err="1">
                <a:ea typeface="Calibri" panose="020F0502020204030204" pitchFamily="34" charset="0"/>
              </a:rPr>
              <a:t>indicate</a:t>
            </a:r>
            <a:r>
              <a:rPr lang="fr-FR" dirty="0">
                <a:ea typeface="Calibri" panose="020F0502020204030204" pitchFamily="34" charset="0"/>
              </a:rPr>
              <a:t> the </a:t>
            </a:r>
            <a:r>
              <a:rPr lang="fr-FR" dirty="0" err="1">
                <a:ea typeface="Calibri" panose="020F0502020204030204" pitchFamily="34" charset="0"/>
              </a:rPr>
              <a:t>author</a:t>
            </a:r>
            <a:r>
              <a:rPr lang="fr-FR" dirty="0">
                <a:ea typeface="Calibri" panose="020F0502020204030204" pitchFamily="34" charset="0"/>
              </a:rPr>
              <a:t> and the release date.</a:t>
            </a:r>
          </a:p>
          <a:p>
            <a:pPr algn="just">
              <a:lnSpc>
                <a:spcPct val="115000"/>
              </a:lnSpc>
            </a:pPr>
            <a:endParaRPr lang="fr-FR" dirty="0">
              <a:ea typeface="Calibri" panose="020F0502020204030204" pitchFamily="34" charset="0"/>
            </a:endParaRPr>
          </a:p>
          <a:p>
            <a:endParaRPr lang="fr-FR" dirty="0">
              <a:ea typeface="Calibri" panose="020F0502020204030204" pitchFamily="34" charset="0"/>
            </a:endParaRPr>
          </a:p>
        </p:txBody>
      </p:sp>
      <p:pic>
        <p:nvPicPr>
          <p:cNvPr id="4" name="Image 3" descr="Une image contenant Graphique, Police, capture d’écran, logo&#10;&#10;Description générée automatiquement">
            <a:extLst>
              <a:ext uri="{FF2B5EF4-FFF2-40B4-BE49-F238E27FC236}">
                <a16:creationId xmlns:a16="http://schemas.microsoft.com/office/drawing/2014/main" id="{6CAAA102-F606-AA3F-1809-77BE15C4CF2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76830" y="5143164"/>
            <a:ext cx="2762636" cy="1476581"/>
          </a:xfrm>
          <a:prstGeom prst="rect">
            <a:avLst/>
          </a:prstGeom>
        </p:spPr>
      </p:pic>
      <p:pic>
        <p:nvPicPr>
          <p:cNvPr id="5" name="Espace réservé pour une image  4" descr="Une image contenant personne, tenue&#10;&#10;Description générée automatiquement">
            <a:extLst>
              <a:ext uri="{FF2B5EF4-FFF2-40B4-BE49-F238E27FC236}">
                <a16:creationId xmlns:a16="http://schemas.microsoft.com/office/drawing/2014/main" id="{91A5421D-B56D-FFA7-AEA4-187A814BD45E}"/>
              </a:ext>
            </a:extLst>
          </p:cNvPr>
          <p:cNvPicPr>
            <a:picLocks noChangeAspect="1"/>
          </p:cNvPicPr>
          <p:nvPr/>
        </p:nvPicPr>
        <p:blipFill rotWithShape="1">
          <a:blip r:embed="rId4">
            <a:extLst>
              <a:ext uri="{28A0092B-C50C-407E-A947-70E740481C1C}">
                <a14:useLocalDpi xmlns:a14="http://schemas.microsoft.com/office/drawing/2010/main" val="0"/>
              </a:ext>
            </a:extLst>
          </a:blip>
          <a:srcRect l="12719" t="17143" r="20015" b="12153"/>
          <a:stretch/>
        </p:blipFill>
        <p:spPr>
          <a:xfrm>
            <a:off x="6392961" y="0"/>
            <a:ext cx="5799039" cy="6858000"/>
          </a:xfrm>
          <a:prstGeom prst="rect">
            <a:avLst/>
          </a:prstGeom>
          <a:noFill/>
        </p:spPr>
      </p:pic>
    </p:spTree>
    <p:extLst>
      <p:ext uri="{BB962C8B-B14F-4D97-AF65-F5344CB8AC3E}">
        <p14:creationId xmlns:p14="http://schemas.microsoft.com/office/powerpoint/2010/main" val="9872653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52B8373-62D1-544B-7A5C-41B622D6A38F}"/>
              </a:ext>
            </a:extLst>
          </p:cNvPr>
          <p:cNvSpPr>
            <a:spLocks noGrp="1"/>
          </p:cNvSpPr>
          <p:nvPr>
            <p:ph type="title"/>
          </p:nvPr>
        </p:nvSpPr>
        <p:spPr>
          <a:xfrm>
            <a:off x="874868" y="302393"/>
            <a:ext cx="9738335" cy="649922"/>
          </a:xfrm>
        </p:spPr>
        <p:txBody>
          <a:bodyPr/>
          <a:lstStyle/>
          <a:p>
            <a:r>
              <a:rPr lang="fr-FR" dirty="0"/>
              <a:t>Project guidelines</a:t>
            </a:r>
          </a:p>
        </p:txBody>
      </p:sp>
      <p:sp>
        <p:nvSpPr>
          <p:cNvPr id="4" name="Espace réservé du texte 3">
            <a:extLst>
              <a:ext uri="{FF2B5EF4-FFF2-40B4-BE49-F238E27FC236}">
                <a16:creationId xmlns:a16="http://schemas.microsoft.com/office/drawing/2014/main" id="{430F12B2-8A30-D6A2-6AC7-ABAE7B02E283}"/>
              </a:ext>
            </a:extLst>
          </p:cNvPr>
          <p:cNvSpPr>
            <a:spLocks noGrp="1"/>
          </p:cNvSpPr>
          <p:nvPr>
            <p:ph type="body" sz="quarter" idx="16"/>
          </p:nvPr>
        </p:nvSpPr>
        <p:spPr>
          <a:xfrm>
            <a:off x="677891" y="1060186"/>
            <a:ext cx="11156825" cy="4531865"/>
          </a:xfrm>
        </p:spPr>
        <p:txBody>
          <a:bodyPr/>
          <a:lstStyle/>
          <a:p>
            <a:pPr marL="342900" lvl="0" indent="-342900">
              <a:spcAft>
                <a:spcPts val="750"/>
              </a:spcAft>
              <a:buSzPts val="1000"/>
              <a:buFont typeface="Symbol" panose="05050102010706020507" pitchFamily="18" charset="2"/>
              <a:buChar char=""/>
              <a:tabLst>
                <a:tab pos="457200" algn="l"/>
              </a:tabLst>
            </a:pPr>
            <a:r>
              <a:rPr lang="en-US" sz="1400" dirty="0">
                <a:solidFill>
                  <a:srgbClr val="1F1F1F"/>
                </a:solidFill>
                <a:effectLst/>
                <a:cs typeface="Times New Roman" panose="02020603050405020304" pitchFamily="18" charset="0"/>
              </a:rPr>
              <a:t>[MANDATORY] Quarter 1 2024 : Descriptive analysis of the pricing practices of the different European Charge Point Operators networks </a:t>
            </a:r>
            <a:endParaRPr lang="fr-FR" sz="1400" dirty="0">
              <a:solidFill>
                <a:srgbClr val="1F1F1F"/>
              </a:solidFill>
              <a:effectLst/>
              <a:cs typeface="Times New Roman" panose="02020603050405020304" pitchFamily="18" charset="0"/>
            </a:endParaRPr>
          </a:p>
          <a:p>
            <a:pPr marL="742950" lvl="1" indent="-285750">
              <a:spcAft>
                <a:spcPts val="750"/>
              </a:spcAft>
              <a:buSzPts val="1000"/>
              <a:buFont typeface="Courier New" panose="02070309020205020404" pitchFamily="49" charset="0"/>
              <a:buChar char="o"/>
              <a:tabLst>
                <a:tab pos="914400" algn="l"/>
              </a:tabLst>
            </a:pPr>
            <a:r>
              <a:rPr lang="en-US" sz="1400" dirty="0">
                <a:solidFill>
                  <a:srgbClr val="1F1F1F"/>
                </a:solidFill>
                <a:effectLst/>
                <a:cs typeface="Times New Roman" panose="02020603050405020304" pitchFamily="18" charset="0"/>
              </a:rPr>
              <a:t>Weight analysis of the different CPO price factors in the invoices : duration, energy quantity, power, locations, consuming uses…</a:t>
            </a:r>
          </a:p>
          <a:p>
            <a:pPr marL="1200150" lvl="2" indent="-285750">
              <a:spcAft>
                <a:spcPts val="750"/>
              </a:spcAft>
              <a:buSzPts val="1000"/>
              <a:buFont typeface="Courier New" panose="02070309020205020404" pitchFamily="49" charset="0"/>
              <a:buChar char="o"/>
              <a:tabLst>
                <a:tab pos="914400" algn="l"/>
              </a:tabLst>
            </a:pPr>
            <a:r>
              <a:rPr lang="en-US" sz="1400" dirty="0">
                <a:solidFill>
                  <a:srgbClr val="1F1F1F"/>
                </a:solidFill>
                <a:cs typeface="Times New Roman" panose="02020603050405020304" pitchFamily="18" charset="0"/>
              </a:rPr>
              <a:t>Item 1 : Exploratory study and statistical description based on transactions dataset</a:t>
            </a:r>
            <a:endParaRPr lang="fr-FR" sz="1400" dirty="0">
              <a:solidFill>
                <a:srgbClr val="1F1F1F"/>
              </a:solidFill>
              <a:effectLst/>
              <a:cs typeface="Times New Roman" panose="02020603050405020304" pitchFamily="18" charset="0"/>
            </a:endParaRPr>
          </a:p>
          <a:p>
            <a:pPr marL="742950" lvl="1" indent="-285750">
              <a:spcAft>
                <a:spcPts val="750"/>
              </a:spcAft>
              <a:buSzPts val="1000"/>
              <a:buFont typeface="Courier New" panose="02070309020205020404" pitchFamily="49" charset="0"/>
              <a:buChar char="o"/>
              <a:tabLst>
                <a:tab pos="914400" algn="l"/>
              </a:tabLst>
            </a:pPr>
            <a:r>
              <a:rPr lang="en-US" sz="1400" dirty="0">
                <a:solidFill>
                  <a:srgbClr val="1F1F1F"/>
                </a:solidFill>
                <a:effectLst/>
                <a:cs typeface="Times New Roman" panose="02020603050405020304" pitchFamily="18" charset="0"/>
              </a:rPr>
              <a:t>CPO pri</a:t>
            </a:r>
            <a:r>
              <a:rPr lang="en-US" sz="1400" dirty="0">
                <a:solidFill>
                  <a:srgbClr val="1F1F1F"/>
                </a:solidFill>
                <a:cs typeface="Times New Roman" panose="02020603050405020304" pitchFamily="18" charset="0"/>
              </a:rPr>
              <a:t>cing formula analysis</a:t>
            </a:r>
            <a:r>
              <a:rPr lang="en-US" sz="1400" dirty="0">
                <a:solidFill>
                  <a:srgbClr val="1F1F1F"/>
                </a:solidFill>
                <a:effectLst/>
                <a:cs typeface="Times New Roman" panose="02020603050405020304" pitchFamily="18" charset="0"/>
              </a:rPr>
              <a:t> : </a:t>
            </a:r>
            <a:endParaRPr lang="fr-FR" sz="1400" dirty="0">
              <a:solidFill>
                <a:srgbClr val="1F1F1F"/>
              </a:solidFill>
              <a:effectLst/>
              <a:cs typeface="Times New Roman" panose="02020603050405020304" pitchFamily="18" charset="0"/>
            </a:endParaRPr>
          </a:p>
          <a:p>
            <a:pPr marL="1143000" lvl="2" indent="-228600">
              <a:spcAft>
                <a:spcPts val="750"/>
              </a:spcAft>
              <a:buSzPts val="1000"/>
              <a:buFont typeface="Wingdings" panose="05000000000000000000" pitchFamily="2" charset="2"/>
              <a:buChar char=""/>
              <a:tabLst>
                <a:tab pos="1371600" algn="l"/>
              </a:tabLst>
            </a:pPr>
            <a:r>
              <a:rPr lang="en-US" sz="1400" dirty="0">
                <a:solidFill>
                  <a:srgbClr val="1F1F1F"/>
                </a:solidFill>
                <a:cs typeface="Times New Roman" panose="02020603050405020304" pitchFamily="18" charset="0"/>
              </a:rPr>
              <a:t>Item 2 : Comparison study to assess </a:t>
            </a:r>
            <a:r>
              <a:rPr lang="en-US" sz="1400" dirty="0" err="1">
                <a:solidFill>
                  <a:srgbClr val="1F1F1F"/>
                </a:solidFill>
                <a:cs typeface="Times New Roman" panose="02020603050405020304" pitchFamily="18" charset="0"/>
              </a:rPr>
              <a:t>Bemo</a:t>
            </a:r>
            <a:r>
              <a:rPr lang="en-US" sz="1400" dirty="0">
                <a:solidFill>
                  <a:srgbClr val="1F1F1F"/>
                </a:solidFill>
                <a:cs typeface="Times New Roman" panose="02020603050405020304" pitchFamily="18" charset="0"/>
              </a:rPr>
              <a:t> valuation (using </a:t>
            </a:r>
            <a:r>
              <a:rPr lang="en-US" sz="1400" dirty="0" err="1">
                <a:solidFill>
                  <a:srgbClr val="1F1F1F"/>
                </a:solidFill>
                <a:cs typeface="Times New Roman" panose="02020603050405020304" pitchFamily="18" charset="0"/>
              </a:rPr>
              <a:t>Bemo</a:t>
            </a:r>
            <a:r>
              <a:rPr lang="en-US" sz="1400" dirty="0">
                <a:solidFill>
                  <a:srgbClr val="1F1F1F"/>
                </a:solidFill>
                <a:cs typeface="Times New Roman" panose="02020603050405020304" pitchFamily="18" charset="0"/>
              </a:rPr>
              <a:t> </a:t>
            </a:r>
            <a:r>
              <a:rPr lang="en-US" sz="1400" dirty="0" err="1">
                <a:solidFill>
                  <a:srgbClr val="1F1F1F"/>
                </a:solidFill>
                <a:cs typeface="Times New Roman" panose="02020603050405020304" pitchFamily="18" charset="0"/>
              </a:rPr>
              <a:t>Pricer</a:t>
            </a:r>
            <a:r>
              <a:rPr lang="en-US" sz="1400" dirty="0">
                <a:solidFill>
                  <a:srgbClr val="1F1F1F"/>
                </a:solidFill>
                <a:cs typeface="Times New Roman" panose="02020603050405020304" pitchFamily="18" charset="0"/>
              </a:rPr>
              <a:t>) vs actual CPO price based on past transactions. Accuracy of </a:t>
            </a:r>
            <a:r>
              <a:rPr lang="en-US" sz="1400" dirty="0" err="1">
                <a:solidFill>
                  <a:srgbClr val="1F1F1F"/>
                </a:solidFill>
                <a:cs typeface="Times New Roman" panose="02020603050405020304" pitchFamily="18" charset="0"/>
              </a:rPr>
              <a:t>Bemo</a:t>
            </a:r>
            <a:r>
              <a:rPr lang="en-US" sz="1400" dirty="0">
                <a:solidFill>
                  <a:srgbClr val="1F1F1F"/>
                </a:solidFill>
                <a:cs typeface="Times New Roman" panose="02020603050405020304" pitchFamily="18" charset="0"/>
              </a:rPr>
              <a:t> valuation.</a:t>
            </a:r>
          </a:p>
          <a:p>
            <a:pPr marL="1143000" lvl="2" indent="-228600">
              <a:spcAft>
                <a:spcPts val="750"/>
              </a:spcAft>
              <a:buSzPts val="1000"/>
              <a:buFont typeface="Wingdings" panose="05000000000000000000" pitchFamily="2" charset="2"/>
              <a:buChar char=""/>
              <a:tabLst>
                <a:tab pos="1371600" algn="l"/>
              </a:tabLst>
            </a:pPr>
            <a:r>
              <a:rPr lang="en-US" sz="1400" dirty="0">
                <a:solidFill>
                  <a:srgbClr val="1F1F1F"/>
                </a:solidFill>
                <a:cs typeface="Times New Roman" panose="02020603050405020304" pitchFamily="18" charset="0"/>
              </a:rPr>
              <a:t>Item 3 : Few simple batch works to explore scope of application / degrees of freedom of one CPO formula modification of session params and formula params)</a:t>
            </a:r>
          </a:p>
          <a:p>
            <a:pPr marL="1143000" lvl="2" indent="-228600">
              <a:spcAft>
                <a:spcPts val="750"/>
              </a:spcAft>
              <a:buSzPts val="1000"/>
              <a:buFont typeface="Wingdings" panose="05000000000000000000" pitchFamily="2" charset="2"/>
              <a:buChar char=""/>
              <a:tabLst>
                <a:tab pos="1371600" algn="l"/>
              </a:tabLst>
            </a:pPr>
            <a:r>
              <a:rPr lang="fr-FR" sz="1400" dirty="0">
                <a:solidFill>
                  <a:srgbClr val="1F1F1F"/>
                </a:solidFill>
                <a:effectLst/>
                <a:cs typeface="Times New Roman" panose="02020603050405020304" pitchFamily="18" charset="0"/>
              </a:rPr>
              <a:t>Item 4.1 : Batch computation to </a:t>
            </a:r>
            <a:r>
              <a:rPr lang="fr-FR" sz="1400" dirty="0" err="1">
                <a:solidFill>
                  <a:srgbClr val="1F1F1F"/>
                </a:solidFill>
                <a:effectLst/>
                <a:cs typeface="Times New Roman" panose="02020603050405020304" pitchFamily="18" charset="0"/>
              </a:rPr>
              <a:t>assess</a:t>
            </a:r>
            <a:r>
              <a:rPr lang="fr-FR" sz="1400" dirty="0">
                <a:solidFill>
                  <a:srgbClr val="1F1F1F"/>
                </a:solidFill>
                <a:effectLst/>
                <a:cs typeface="Times New Roman" panose="02020603050405020304" pitchFamily="18" charset="0"/>
              </a:rPr>
              <a:t> one CPO formula full </a:t>
            </a:r>
            <a:r>
              <a:rPr lang="fr-FR" sz="1400" dirty="0" err="1">
                <a:solidFill>
                  <a:srgbClr val="1F1F1F"/>
                </a:solidFill>
                <a:effectLst/>
                <a:cs typeface="Times New Roman" panose="02020603050405020304" pitchFamily="18" charset="0"/>
              </a:rPr>
              <a:t>domain</a:t>
            </a:r>
            <a:r>
              <a:rPr lang="fr-FR" sz="1400" dirty="0">
                <a:solidFill>
                  <a:srgbClr val="1F1F1F"/>
                </a:solidFill>
                <a:effectLst/>
                <a:cs typeface="Times New Roman" panose="02020603050405020304" pitchFamily="18" charset="0"/>
              </a:rPr>
              <a:t> </a:t>
            </a:r>
            <a:r>
              <a:rPr lang="fr-FR" sz="1400" dirty="0" err="1">
                <a:solidFill>
                  <a:srgbClr val="1F1F1F"/>
                </a:solidFill>
                <a:effectLst/>
                <a:cs typeface="Times New Roman" panose="02020603050405020304" pitchFamily="18" charset="0"/>
              </a:rPr>
              <a:t>using</a:t>
            </a:r>
            <a:r>
              <a:rPr lang="fr-FR" sz="1400" dirty="0">
                <a:solidFill>
                  <a:srgbClr val="1F1F1F"/>
                </a:solidFill>
                <a:effectLst/>
                <a:cs typeface="Times New Roman" panose="02020603050405020304" pitchFamily="18" charset="0"/>
              </a:rPr>
              <a:t> </a:t>
            </a:r>
            <a:r>
              <a:rPr lang="fr-FR" sz="1400" dirty="0" err="1">
                <a:solidFill>
                  <a:srgbClr val="1F1F1F"/>
                </a:solidFill>
                <a:effectLst/>
                <a:cs typeface="Times New Roman" panose="02020603050405020304" pitchFamily="18" charset="0"/>
              </a:rPr>
              <a:t>various</a:t>
            </a:r>
            <a:r>
              <a:rPr lang="fr-FR" sz="1400" dirty="0">
                <a:solidFill>
                  <a:srgbClr val="1F1F1F"/>
                </a:solidFill>
                <a:effectLst/>
                <a:cs typeface="Times New Roman" panose="02020603050405020304" pitchFamily="18" charset="0"/>
              </a:rPr>
              <a:t> </a:t>
            </a:r>
            <a:r>
              <a:rPr lang="fr-FR" sz="1400" dirty="0" err="1">
                <a:solidFill>
                  <a:srgbClr val="1F1F1F"/>
                </a:solidFill>
                <a:effectLst/>
                <a:cs typeface="Times New Roman" panose="02020603050405020304" pitchFamily="18" charset="0"/>
              </a:rPr>
              <a:t>consuming</a:t>
            </a:r>
            <a:r>
              <a:rPr lang="fr-FR" sz="1400" dirty="0">
                <a:solidFill>
                  <a:srgbClr val="1F1F1F"/>
                </a:solidFill>
                <a:effectLst/>
                <a:cs typeface="Times New Roman" panose="02020603050405020304" pitchFamily="18" charset="0"/>
              </a:rPr>
              <a:t> </a:t>
            </a:r>
            <a:r>
              <a:rPr lang="fr-FR" sz="1400" dirty="0" err="1">
                <a:solidFill>
                  <a:srgbClr val="1F1F1F"/>
                </a:solidFill>
                <a:effectLst/>
                <a:cs typeface="Times New Roman" panose="02020603050405020304" pitchFamily="18" charset="0"/>
              </a:rPr>
              <a:t>schemes</a:t>
            </a:r>
            <a:r>
              <a:rPr lang="fr-FR" sz="1400" dirty="0">
                <a:solidFill>
                  <a:srgbClr val="1F1F1F"/>
                </a:solidFill>
                <a:cs typeface="Times New Roman" panose="02020603050405020304" pitchFamily="18" charset="0"/>
              </a:rPr>
              <a:t> </a:t>
            </a:r>
            <a:r>
              <a:rPr lang="fr-FR" sz="1400" dirty="0">
                <a:solidFill>
                  <a:srgbClr val="1F1F1F"/>
                </a:solidFill>
                <a:effectLst/>
                <a:cs typeface="Times New Roman" panose="02020603050405020304" pitchFamily="18" charset="0"/>
              </a:rPr>
              <a:t>(</a:t>
            </a:r>
            <a:r>
              <a:rPr lang="fr-FR" sz="1400" dirty="0" err="1">
                <a:solidFill>
                  <a:srgbClr val="1F1F1F"/>
                </a:solidFill>
                <a:effectLst/>
                <a:cs typeface="Times New Roman" panose="02020603050405020304" pitchFamily="18" charset="0"/>
              </a:rPr>
              <a:t>average</a:t>
            </a:r>
            <a:r>
              <a:rPr lang="fr-FR" sz="1400" dirty="0">
                <a:solidFill>
                  <a:srgbClr val="1F1F1F"/>
                </a:solidFill>
                <a:effectLst/>
                <a:cs typeface="Times New Roman" panose="02020603050405020304" pitchFamily="18" charset="0"/>
              </a:rPr>
              <a:t> </a:t>
            </a:r>
            <a:r>
              <a:rPr lang="fr-FR" sz="1400" dirty="0" err="1">
                <a:solidFill>
                  <a:srgbClr val="1F1F1F"/>
                </a:solidFill>
                <a:effectLst/>
                <a:cs typeface="Times New Roman" panose="02020603050405020304" pitchFamily="18" charset="0"/>
              </a:rPr>
              <a:t>consuming</a:t>
            </a:r>
            <a:r>
              <a:rPr lang="fr-FR" sz="1400" dirty="0">
                <a:solidFill>
                  <a:srgbClr val="1F1F1F"/>
                </a:solidFill>
                <a:effectLst/>
                <a:cs typeface="Times New Roman" panose="02020603050405020304" pitchFamily="18" charset="0"/>
              </a:rPr>
              <a:t> </a:t>
            </a:r>
            <a:r>
              <a:rPr lang="fr-FR" sz="1400" dirty="0" err="1">
                <a:solidFill>
                  <a:srgbClr val="1F1F1F"/>
                </a:solidFill>
                <a:effectLst/>
                <a:cs typeface="Times New Roman" panose="02020603050405020304" pitchFamily="18" charset="0"/>
              </a:rPr>
              <a:t>cart</a:t>
            </a:r>
            <a:r>
              <a:rPr lang="fr-FR" sz="1400" dirty="0">
                <a:solidFill>
                  <a:srgbClr val="1F1F1F"/>
                </a:solidFill>
                <a:cs typeface="Times New Roman" panose="02020603050405020304" pitchFamily="18" charset="0"/>
              </a:rPr>
              <a:t> and </a:t>
            </a:r>
            <a:r>
              <a:rPr lang="fr-FR" sz="1400" dirty="0" err="1">
                <a:solidFill>
                  <a:srgbClr val="1F1F1F"/>
                </a:solidFill>
                <a:cs typeface="Times New Roman" panose="02020603050405020304" pitchFamily="18" charset="0"/>
              </a:rPr>
              <a:t>past</a:t>
            </a:r>
            <a:r>
              <a:rPr lang="fr-FR" sz="1400" dirty="0">
                <a:solidFill>
                  <a:srgbClr val="1F1F1F"/>
                </a:solidFill>
                <a:cs typeface="Times New Roman" panose="02020603050405020304" pitchFamily="18" charset="0"/>
              </a:rPr>
              <a:t> transactions). </a:t>
            </a:r>
            <a:r>
              <a:rPr lang="fr-FR" sz="1400" dirty="0" err="1">
                <a:solidFill>
                  <a:srgbClr val="1F1F1F"/>
                </a:solidFill>
                <a:cs typeface="Times New Roman" panose="02020603050405020304" pitchFamily="18" charset="0"/>
              </a:rPr>
              <a:t>Assessment</a:t>
            </a:r>
            <a:r>
              <a:rPr lang="fr-FR" sz="1400" dirty="0">
                <a:solidFill>
                  <a:srgbClr val="1F1F1F"/>
                </a:solidFill>
                <a:cs typeface="Times New Roman" panose="02020603050405020304" pitchFamily="18" charset="0"/>
              </a:rPr>
              <a:t> of </a:t>
            </a:r>
            <a:r>
              <a:rPr lang="fr-FR" sz="1400" dirty="0" err="1">
                <a:solidFill>
                  <a:srgbClr val="1F1F1F"/>
                </a:solidFill>
                <a:cs typeface="Times New Roman" panose="02020603050405020304" pitchFamily="18" charset="0"/>
              </a:rPr>
              <a:t>theoretical</a:t>
            </a:r>
            <a:r>
              <a:rPr lang="fr-FR" sz="1400" dirty="0">
                <a:solidFill>
                  <a:srgbClr val="1F1F1F"/>
                </a:solidFill>
                <a:cs typeface="Times New Roman" panose="02020603050405020304" pitchFamily="18" charset="0"/>
              </a:rPr>
              <a:t> formula vs </a:t>
            </a:r>
            <a:r>
              <a:rPr lang="fr-FR" sz="1400" dirty="0" err="1">
                <a:solidFill>
                  <a:srgbClr val="1F1F1F"/>
                </a:solidFill>
                <a:cs typeface="Times New Roman" panose="02020603050405020304" pitchFamily="18" charset="0"/>
              </a:rPr>
              <a:t>actual</a:t>
            </a:r>
            <a:r>
              <a:rPr lang="fr-FR" sz="1400" dirty="0">
                <a:solidFill>
                  <a:srgbClr val="1F1F1F"/>
                </a:solidFill>
                <a:cs typeface="Times New Roman" panose="02020603050405020304" pitchFamily="18" charset="0"/>
              </a:rPr>
              <a:t> </a:t>
            </a:r>
            <a:r>
              <a:rPr lang="fr-FR" sz="1400" dirty="0" err="1">
                <a:solidFill>
                  <a:srgbClr val="1F1F1F"/>
                </a:solidFill>
                <a:cs typeface="Times New Roman" panose="02020603050405020304" pitchFamily="18" charset="0"/>
              </a:rPr>
              <a:t>price</a:t>
            </a:r>
            <a:r>
              <a:rPr lang="fr-FR" sz="1400" dirty="0">
                <a:solidFill>
                  <a:srgbClr val="1F1F1F"/>
                </a:solidFill>
                <a:cs typeface="Times New Roman" panose="02020603050405020304" pitchFamily="18" charset="0"/>
              </a:rPr>
              <a:t>. </a:t>
            </a:r>
            <a:r>
              <a:rPr lang="fr-FR" sz="1400" dirty="0">
                <a:solidFill>
                  <a:srgbClr val="1F1F1F"/>
                </a:solidFill>
                <a:cs typeface="Times New Roman" panose="02020603050405020304" pitchFamily="18" charset="0"/>
                <a:sym typeface="Wingdings" panose="05000000000000000000" pitchFamily="2" charset="2"/>
              </a:rPr>
              <a:t> </a:t>
            </a:r>
            <a:r>
              <a:rPr lang="fr-FR" sz="1400" dirty="0" err="1">
                <a:solidFill>
                  <a:srgbClr val="1F1F1F"/>
                </a:solidFill>
                <a:cs typeface="Times New Roman" panose="02020603050405020304" pitchFamily="18" charset="0"/>
                <a:sym typeface="Wingdings" panose="05000000000000000000" pitchFamily="2" charset="2"/>
              </a:rPr>
              <a:t>enriched</a:t>
            </a:r>
            <a:r>
              <a:rPr lang="fr-FR" sz="1400" dirty="0">
                <a:solidFill>
                  <a:srgbClr val="1F1F1F"/>
                </a:solidFill>
                <a:cs typeface="Times New Roman" panose="02020603050405020304" pitchFamily="18" charset="0"/>
                <a:sym typeface="Wingdings" panose="05000000000000000000" pitchFamily="2" charset="2"/>
              </a:rPr>
              <a:t> CDR to replay</a:t>
            </a:r>
            <a:endParaRPr lang="fr-FR" sz="1400" dirty="0">
              <a:solidFill>
                <a:srgbClr val="1F1F1F"/>
              </a:solidFill>
              <a:cs typeface="Times New Roman" panose="02020603050405020304" pitchFamily="18" charset="0"/>
            </a:endParaRPr>
          </a:p>
          <a:p>
            <a:pPr marL="1143000" lvl="2" indent="-228600">
              <a:spcAft>
                <a:spcPts val="750"/>
              </a:spcAft>
              <a:buSzPts val="1000"/>
              <a:buFont typeface="Wingdings" panose="05000000000000000000" pitchFamily="2" charset="2"/>
              <a:buChar char=""/>
              <a:tabLst>
                <a:tab pos="1371600" algn="l"/>
              </a:tabLst>
            </a:pPr>
            <a:r>
              <a:rPr lang="fr-FR" sz="1400" dirty="0">
                <a:solidFill>
                  <a:srgbClr val="1F1F1F"/>
                </a:solidFill>
                <a:effectLst/>
                <a:cs typeface="Times New Roman" panose="02020603050405020304" pitchFamily="18" charset="0"/>
              </a:rPr>
              <a:t>Item 4.2 : Batch computation to </a:t>
            </a:r>
            <a:r>
              <a:rPr lang="fr-FR" sz="1400" dirty="0" err="1">
                <a:solidFill>
                  <a:srgbClr val="1F1F1F"/>
                </a:solidFill>
                <a:effectLst/>
                <a:cs typeface="Times New Roman" panose="02020603050405020304" pitchFamily="18" charset="0"/>
              </a:rPr>
              <a:t>assess</a:t>
            </a:r>
            <a:r>
              <a:rPr lang="fr-FR" sz="1400" dirty="0">
                <a:solidFill>
                  <a:srgbClr val="1F1F1F"/>
                </a:solidFill>
                <a:effectLst/>
                <a:cs typeface="Times New Roman" panose="02020603050405020304" pitchFamily="18" charset="0"/>
              </a:rPr>
              <a:t> one </a:t>
            </a:r>
            <a:r>
              <a:rPr lang="fr-FR" sz="1400" dirty="0" err="1">
                <a:solidFill>
                  <a:srgbClr val="1F1F1F"/>
                </a:solidFill>
                <a:effectLst/>
                <a:cs typeface="Times New Roman" panose="02020603050405020304" pitchFamily="18" charset="0"/>
              </a:rPr>
              <a:t>consuming</a:t>
            </a:r>
            <a:r>
              <a:rPr lang="fr-FR" sz="1400" dirty="0">
                <a:solidFill>
                  <a:srgbClr val="1F1F1F"/>
                </a:solidFill>
                <a:effectLst/>
                <a:cs typeface="Times New Roman" panose="02020603050405020304" pitchFamily="18" charset="0"/>
              </a:rPr>
              <a:t> </a:t>
            </a:r>
            <a:r>
              <a:rPr lang="fr-FR" sz="1400" dirty="0" err="1">
                <a:solidFill>
                  <a:srgbClr val="1F1F1F"/>
                </a:solidFill>
                <a:effectLst/>
                <a:cs typeface="Times New Roman" panose="02020603050405020304" pitchFamily="18" charset="0"/>
              </a:rPr>
              <a:t>scheme</a:t>
            </a:r>
            <a:r>
              <a:rPr lang="fr-FR" sz="1400" dirty="0">
                <a:solidFill>
                  <a:srgbClr val="1F1F1F"/>
                </a:solidFill>
                <a:effectLst/>
                <a:cs typeface="Times New Roman" panose="02020603050405020304" pitchFamily="18" charset="0"/>
              </a:rPr>
              <a:t> (</a:t>
            </a:r>
            <a:r>
              <a:rPr lang="fr-FR" sz="1400" dirty="0" err="1">
                <a:solidFill>
                  <a:srgbClr val="1F1F1F"/>
                </a:solidFill>
                <a:effectLst/>
                <a:cs typeface="Times New Roman" panose="02020603050405020304" pitchFamily="18" charset="0"/>
              </a:rPr>
              <a:t>average</a:t>
            </a:r>
            <a:r>
              <a:rPr lang="fr-FR" sz="1400" dirty="0">
                <a:solidFill>
                  <a:srgbClr val="1F1F1F"/>
                </a:solidFill>
                <a:effectLst/>
                <a:cs typeface="Times New Roman" panose="02020603050405020304" pitchFamily="18" charset="0"/>
              </a:rPr>
              <a:t> </a:t>
            </a:r>
            <a:r>
              <a:rPr lang="fr-FR" sz="1400" dirty="0" err="1">
                <a:solidFill>
                  <a:srgbClr val="1F1F1F"/>
                </a:solidFill>
                <a:effectLst/>
                <a:cs typeface="Times New Roman" panose="02020603050405020304" pitchFamily="18" charset="0"/>
              </a:rPr>
              <a:t>consuming</a:t>
            </a:r>
            <a:r>
              <a:rPr lang="fr-FR" sz="1400" dirty="0">
                <a:solidFill>
                  <a:srgbClr val="1F1F1F"/>
                </a:solidFill>
                <a:effectLst/>
                <a:cs typeface="Times New Roman" panose="02020603050405020304" pitchFamily="18" charset="0"/>
              </a:rPr>
              <a:t> </a:t>
            </a:r>
            <a:r>
              <a:rPr lang="fr-FR" sz="1400" dirty="0" err="1">
                <a:solidFill>
                  <a:srgbClr val="1F1F1F"/>
                </a:solidFill>
                <a:effectLst/>
                <a:cs typeface="Times New Roman" panose="02020603050405020304" pitchFamily="18" charset="0"/>
              </a:rPr>
              <a:t>cart</a:t>
            </a:r>
            <a:r>
              <a:rPr lang="fr-FR" sz="1400" dirty="0">
                <a:solidFill>
                  <a:srgbClr val="1F1F1F"/>
                </a:solidFill>
                <a:effectLst/>
                <a:cs typeface="Times New Roman" panose="02020603050405020304" pitchFamily="18" charset="0"/>
              </a:rPr>
              <a:t>) over </a:t>
            </a:r>
            <a:r>
              <a:rPr lang="fr-FR" sz="1400" dirty="0" err="1">
                <a:solidFill>
                  <a:srgbClr val="1F1F1F"/>
                </a:solidFill>
                <a:effectLst/>
                <a:cs typeface="Times New Roman" panose="02020603050405020304" pitchFamily="18" charset="0"/>
              </a:rPr>
              <a:t>various</a:t>
            </a:r>
            <a:r>
              <a:rPr lang="fr-FR" sz="1400" dirty="0">
                <a:solidFill>
                  <a:srgbClr val="1F1F1F"/>
                </a:solidFill>
                <a:effectLst/>
                <a:cs typeface="Times New Roman" panose="02020603050405020304" pitchFamily="18" charset="0"/>
              </a:rPr>
              <a:t> CPO formula. </a:t>
            </a:r>
            <a:r>
              <a:rPr lang="fr-FR" sz="1400" dirty="0" err="1">
                <a:solidFill>
                  <a:srgbClr val="1F1F1F"/>
                </a:solidFill>
                <a:cs typeface="Times New Roman" panose="02020603050405020304" pitchFamily="18" charset="0"/>
              </a:rPr>
              <a:t>Assessment</a:t>
            </a:r>
            <a:r>
              <a:rPr lang="fr-FR" sz="1400" dirty="0">
                <a:solidFill>
                  <a:srgbClr val="1F1F1F"/>
                </a:solidFill>
                <a:cs typeface="Times New Roman" panose="02020603050405020304" pitchFamily="18" charset="0"/>
              </a:rPr>
              <a:t> of formula </a:t>
            </a:r>
            <a:r>
              <a:rPr lang="fr-FR" sz="1400" dirty="0" err="1">
                <a:solidFill>
                  <a:srgbClr val="1F1F1F"/>
                </a:solidFill>
                <a:cs typeface="Times New Roman" panose="02020603050405020304" pitchFamily="18" charset="0"/>
              </a:rPr>
              <a:t>wideness</a:t>
            </a:r>
            <a:r>
              <a:rPr lang="fr-FR" sz="1400" dirty="0">
                <a:solidFill>
                  <a:srgbClr val="1F1F1F"/>
                </a:solidFill>
                <a:cs typeface="Times New Roman" panose="02020603050405020304" pitchFamily="18" charset="0"/>
              </a:rPr>
              <a:t>.</a:t>
            </a:r>
            <a:endParaRPr lang="fr-FR" sz="1400" dirty="0">
              <a:solidFill>
                <a:srgbClr val="1F1F1F"/>
              </a:solidFill>
              <a:effectLst/>
              <a:cs typeface="Times New Roman" panose="02020603050405020304" pitchFamily="18" charset="0"/>
            </a:endParaRPr>
          </a:p>
          <a:p>
            <a:pPr marL="1143000" lvl="2" indent="-228600">
              <a:spcAft>
                <a:spcPts val="750"/>
              </a:spcAft>
              <a:buSzPts val="1000"/>
              <a:buFont typeface="Wingdings" panose="05000000000000000000" pitchFamily="2" charset="2"/>
              <a:buChar char=""/>
              <a:tabLst>
                <a:tab pos="1371600" algn="l"/>
              </a:tabLst>
            </a:pPr>
            <a:r>
              <a:rPr lang="en-US" sz="1400" dirty="0">
                <a:solidFill>
                  <a:srgbClr val="1F1F1F"/>
                </a:solidFill>
                <a:effectLst/>
                <a:cs typeface="Times New Roman" panose="02020603050405020304" pitchFamily="18" charset="0"/>
              </a:rPr>
              <a:t>Item 5 : Conclusion in terms of general overview, details per CPO and way of handling pricing formula for various departments which work on it. </a:t>
            </a:r>
          </a:p>
          <a:p>
            <a:pPr marL="742950" lvl="1" indent="-285750">
              <a:spcAft>
                <a:spcPts val="750"/>
              </a:spcAft>
              <a:buSzPts val="1000"/>
              <a:buFont typeface="Courier New" panose="02070309020205020404" pitchFamily="49" charset="0"/>
              <a:buChar char="o"/>
              <a:tabLst>
                <a:tab pos="914400" algn="l"/>
              </a:tabLst>
            </a:pPr>
            <a:r>
              <a:rPr lang="en-US" sz="1400" dirty="0">
                <a:solidFill>
                  <a:srgbClr val="1F1F1F"/>
                </a:solidFill>
                <a:cs typeface="Times New Roman" panose="02020603050405020304" pitchFamily="18" charset="0"/>
              </a:rPr>
              <a:t>Items 1,2,3 expected as intermediary deliverable by the end of April 2024. </a:t>
            </a:r>
          </a:p>
          <a:p>
            <a:pPr marL="742950" lvl="1" indent="-285750">
              <a:spcAft>
                <a:spcPts val="750"/>
              </a:spcAft>
              <a:buSzPts val="1000"/>
              <a:buFont typeface="Courier New" panose="02070309020205020404" pitchFamily="49" charset="0"/>
              <a:buChar char="o"/>
              <a:tabLst>
                <a:tab pos="914400" algn="l"/>
              </a:tabLst>
            </a:pPr>
            <a:r>
              <a:rPr lang="en-US" sz="1400" dirty="0">
                <a:solidFill>
                  <a:srgbClr val="1F1F1F"/>
                </a:solidFill>
                <a:cs typeface="Times New Roman" panose="02020603050405020304" pitchFamily="18" charset="0"/>
              </a:rPr>
              <a:t>Items 4,5 expected by the end of the project in Mid-June 2024.</a:t>
            </a:r>
            <a:endParaRPr lang="fr-FR" sz="1400" dirty="0">
              <a:solidFill>
                <a:srgbClr val="1F1F1F"/>
              </a:solidFill>
              <a:cs typeface="Times New Roman" panose="02020603050405020304" pitchFamily="18" charset="0"/>
            </a:endParaRPr>
          </a:p>
          <a:p>
            <a:pPr marL="342900" lvl="0" indent="-342900">
              <a:spcAft>
                <a:spcPts val="750"/>
              </a:spcAft>
              <a:buSzPts val="1000"/>
              <a:buFont typeface="Symbol" panose="05050102010706020507" pitchFamily="18" charset="2"/>
              <a:buChar char=""/>
              <a:tabLst>
                <a:tab pos="457200" algn="l"/>
              </a:tabLst>
            </a:pPr>
            <a:r>
              <a:rPr lang="en-US" sz="1400" dirty="0">
                <a:solidFill>
                  <a:srgbClr val="1F1F1F"/>
                </a:solidFill>
                <a:effectLst/>
                <a:cs typeface="Times New Roman" panose="02020603050405020304" pitchFamily="18" charset="0"/>
              </a:rPr>
              <a:t>[OPTIONAL] Quarter 2 2024 : Study of the application of yield management practices for optimization purposes</a:t>
            </a:r>
            <a:endParaRPr lang="fr-FR" sz="1400" dirty="0">
              <a:solidFill>
                <a:srgbClr val="1F1F1F"/>
              </a:solidFill>
              <a:effectLst/>
              <a:cs typeface="Times New Roman" panose="02020603050405020304" pitchFamily="18" charset="0"/>
            </a:endParaRPr>
          </a:p>
          <a:p>
            <a:pPr marL="742950" lvl="1" indent="-285750">
              <a:spcAft>
                <a:spcPts val="750"/>
              </a:spcAft>
              <a:buSzPts val="1000"/>
              <a:buFont typeface="Courier New" panose="02070309020205020404" pitchFamily="49" charset="0"/>
              <a:buChar char="o"/>
              <a:tabLst>
                <a:tab pos="914400" algn="l"/>
              </a:tabLst>
            </a:pPr>
            <a:r>
              <a:rPr lang="en-US" sz="1400" dirty="0">
                <a:solidFill>
                  <a:srgbClr val="000000"/>
                </a:solidFill>
                <a:effectLst/>
                <a:cs typeface="Times New Roman" panose="02020603050405020304" pitchFamily="18" charset="0"/>
              </a:rPr>
              <a:t>Item 6 : Find the best price by default for a given CPO with the conclusion of the first section</a:t>
            </a:r>
            <a:endParaRPr lang="fr-FR" sz="1400" dirty="0">
              <a:effectLst/>
              <a:cs typeface="Times New Roman" panose="02020603050405020304" pitchFamily="18" charset="0"/>
            </a:endParaRPr>
          </a:p>
          <a:p>
            <a:pPr marL="285750" indent="-285750">
              <a:buFont typeface="Arial" panose="020B0604020202020204" pitchFamily="34" charset="0"/>
              <a:buChar char="•"/>
            </a:pPr>
            <a:endParaRPr lang="fr-FR" sz="1400" dirty="0"/>
          </a:p>
          <a:p>
            <a:pPr marL="285750" indent="-285750">
              <a:buFont typeface="Arial" panose="020B0604020202020204" pitchFamily="34" charset="0"/>
              <a:buChar char="•"/>
            </a:pPr>
            <a:endParaRPr lang="fr-FR" sz="1400" dirty="0"/>
          </a:p>
        </p:txBody>
      </p:sp>
      <p:sp>
        <p:nvSpPr>
          <p:cNvPr id="6" name="Espace réservé du numéro de diapositive 5">
            <a:extLst>
              <a:ext uri="{FF2B5EF4-FFF2-40B4-BE49-F238E27FC236}">
                <a16:creationId xmlns:a16="http://schemas.microsoft.com/office/drawing/2014/main" id="{EC9D517D-70A7-51E5-CA4E-DCE743F41F1A}"/>
              </a:ext>
            </a:extLst>
          </p:cNvPr>
          <p:cNvSpPr>
            <a:spLocks noGrp="1"/>
          </p:cNvSpPr>
          <p:nvPr>
            <p:ph type="sldNum" sz="quarter" idx="18"/>
          </p:nvPr>
        </p:nvSpPr>
        <p:spPr/>
        <p:txBody>
          <a:bodyPr/>
          <a:lstStyle/>
          <a:p>
            <a:fld id="{E9F690C6-F4CD-4FC2-95DF-E832AE3B8C23}" type="slidenum">
              <a:rPr lang="fr-FR" smtClean="0"/>
              <a:pPr/>
              <a:t>2</a:t>
            </a:fld>
            <a:endParaRPr lang="fr-FR"/>
          </a:p>
        </p:txBody>
      </p:sp>
    </p:spTree>
    <p:extLst>
      <p:ext uri="{BB962C8B-B14F-4D97-AF65-F5344CB8AC3E}">
        <p14:creationId xmlns:p14="http://schemas.microsoft.com/office/powerpoint/2010/main" val="335851997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C077969-68B8-529A-0D48-D21D81865458}"/>
              </a:ext>
            </a:extLst>
          </p:cNvPr>
          <p:cNvGraphicFramePr>
            <a:graphicFrameLocks noChangeAspect="1"/>
          </p:cNvGraphicFramePr>
          <p:nvPr>
            <p:custDataLst>
              <p:tags r:id="rId1"/>
            </p:custDataLst>
            <p:extLst>
              <p:ext uri="{D42A27DB-BD31-4B8C-83A1-F6EECF244321}">
                <p14:modId xmlns:p14="http://schemas.microsoft.com/office/powerpoint/2010/main" val="649616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95" imgH="394" progId="TCLayout.ActiveDocument.1">
                  <p:embed/>
                </p:oleObj>
              </mc:Choice>
              <mc:Fallback>
                <p:oleObj name="Diapositive think-cell" r:id="rId3" imgW="395" imgH="394" progId="TCLayout.ActiveDocument.1">
                  <p:embed/>
                  <p:pic>
                    <p:nvPicPr>
                      <p:cNvPr id="3" name="think-cell data - do not delete" hidden="1">
                        <a:extLst>
                          <a:ext uri="{FF2B5EF4-FFF2-40B4-BE49-F238E27FC236}">
                            <a16:creationId xmlns:a16="http://schemas.microsoft.com/office/drawing/2014/main" id="{1C077969-68B8-529A-0D48-D21D8186545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E52B8373-62D1-544B-7A5C-41B622D6A38F}"/>
              </a:ext>
            </a:extLst>
          </p:cNvPr>
          <p:cNvSpPr>
            <a:spLocks noGrp="1"/>
          </p:cNvSpPr>
          <p:nvPr>
            <p:ph type="title"/>
          </p:nvPr>
        </p:nvSpPr>
        <p:spPr>
          <a:xfrm>
            <a:off x="874868" y="302393"/>
            <a:ext cx="9738335" cy="649922"/>
          </a:xfrm>
        </p:spPr>
        <p:txBody>
          <a:bodyPr vert="horz"/>
          <a:lstStyle/>
          <a:p>
            <a:r>
              <a:rPr lang="fr-FR" dirty="0"/>
              <a:t>Informative </a:t>
            </a:r>
            <a:r>
              <a:rPr lang="fr-FR" dirty="0" err="1"/>
              <a:t>scheduling</a:t>
            </a:r>
            <a:endParaRPr lang="fr-FR" dirty="0"/>
          </a:p>
        </p:txBody>
      </p:sp>
      <p:sp>
        <p:nvSpPr>
          <p:cNvPr id="6" name="Espace réservé du numéro de diapositive 5">
            <a:extLst>
              <a:ext uri="{FF2B5EF4-FFF2-40B4-BE49-F238E27FC236}">
                <a16:creationId xmlns:a16="http://schemas.microsoft.com/office/drawing/2014/main" id="{EC9D517D-70A7-51E5-CA4E-DCE743F41F1A}"/>
              </a:ext>
            </a:extLst>
          </p:cNvPr>
          <p:cNvSpPr>
            <a:spLocks noGrp="1"/>
          </p:cNvSpPr>
          <p:nvPr>
            <p:ph type="sldNum" sz="quarter" idx="18"/>
          </p:nvPr>
        </p:nvSpPr>
        <p:spPr/>
        <p:txBody>
          <a:bodyPr/>
          <a:lstStyle/>
          <a:p>
            <a:fld id="{E9F690C6-F4CD-4FC2-95DF-E832AE3B8C23}" type="slidenum">
              <a:rPr lang="fr-FR" smtClean="0"/>
              <a:pPr/>
              <a:t>3</a:t>
            </a:fld>
            <a:endParaRPr lang="fr-FR"/>
          </a:p>
        </p:txBody>
      </p:sp>
      <p:pic>
        <p:nvPicPr>
          <p:cNvPr id="5" name="Image 4" descr="Une image contenant texte, ligne, Tracé, nombre&#10;&#10;Description générée automatiquement">
            <a:extLst>
              <a:ext uri="{FF2B5EF4-FFF2-40B4-BE49-F238E27FC236}">
                <a16:creationId xmlns:a16="http://schemas.microsoft.com/office/drawing/2014/main" id="{B517EDCF-7D4E-DABC-729E-23F0169EE36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3030877"/>
            <a:ext cx="12177800" cy="2184918"/>
          </a:xfrm>
          <a:prstGeom prst="rect">
            <a:avLst/>
          </a:prstGeom>
        </p:spPr>
      </p:pic>
    </p:spTree>
    <p:extLst>
      <p:ext uri="{BB962C8B-B14F-4D97-AF65-F5344CB8AC3E}">
        <p14:creationId xmlns:p14="http://schemas.microsoft.com/office/powerpoint/2010/main" val="40883862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A691175-E3FF-7DC1-B541-0E7FF0C4A2BF}"/>
              </a:ext>
            </a:extLst>
          </p:cNvPr>
          <p:cNvGraphicFramePr>
            <a:graphicFrameLocks noChangeAspect="1"/>
          </p:cNvGraphicFramePr>
          <p:nvPr>
            <p:custDataLst>
              <p:tags r:id="rId1"/>
            </p:custDataLst>
            <p:extLst>
              <p:ext uri="{D42A27DB-BD31-4B8C-83A1-F6EECF244321}">
                <p14:modId xmlns:p14="http://schemas.microsoft.com/office/powerpoint/2010/main" val="34099009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95" imgH="394" progId="TCLayout.ActiveDocument.1">
                  <p:embed/>
                </p:oleObj>
              </mc:Choice>
              <mc:Fallback>
                <p:oleObj name="Diapositive think-cell" r:id="rId3" imgW="395" imgH="394" progId="TCLayout.ActiveDocument.1">
                  <p:embed/>
                  <p:pic>
                    <p:nvPicPr>
                      <p:cNvPr id="5" name="think-cell data - do not delete" hidden="1">
                        <a:extLst>
                          <a:ext uri="{FF2B5EF4-FFF2-40B4-BE49-F238E27FC236}">
                            <a16:creationId xmlns:a16="http://schemas.microsoft.com/office/drawing/2014/main" id="{0A691175-E3FF-7DC1-B541-0E7FF0C4A2B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E52B8373-62D1-544B-7A5C-41B622D6A38F}"/>
              </a:ext>
            </a:extLst>
          </p:cNvPr>
          <p:cNvSpPr>
            <a:spLocks noGrp="1"/>
          </p:cNvSpPr>
          <p:nvPr>
            <p:ph type="title"/>
          </p:nvPr>
        </p:nvSpPr>
        <p:spPr>
          <a:xfrm>
            <a:off x="874868" y="302393"/>
            <a:ext cx="9738335" cy="649922"/>
          </a:xfrm>
        </p:spPr>
        <p:txBody>
          <a:bodyPr vert="horz"/>
          <a:lstStyle/>
          <a:p>
            <a:r>
              <a:rPr lang="fr-FR" dirty="0"/>
              <a:t>Item 1 description</a:t>
            </a:r>
          </a:p>
        </p:txBody>
      </p:sp>
      <p:sp>
        <p:nvSpPr>
          <p:cNvPr id="4" name="Espace réservé du texte 3">
            <a:extLst>
              <a:ext uri="{FF2B5EF4-FFF2-40B4-BE49-F238E27FC236}">
                <a16:creationId xmlns:a16="http://schemas.microsoft.com/office/drawing/2014/main" id="{430F12B2-8A30-D6A2-6AC7-ABAE7B02E283}"/>
              </a:ext>
            </a:extLst>
          </p:cNvPr>
          <p:cNvSpPr>
            <a:spLocks noGrp="1"/>
          </p:cNvSpPr>
          <p:nvPr>
            <p:ph type="body" sz="quarter" idx="16"/>
          </p:nvPr>
        </p:nvSpPr>
        <p:spPr>
          <a:xfrm>
            <a:off x="677891" y="1060186"/>
            <a:ext cx="11156825" cy="4531865"/>
          </a:xfrm>
        </p:spPr>
        <p:txBody>
          <a:bodyPr/>
          <a:lstStyle/>
          <a:p>
            <a:pPr marL="285750" indent="-285750">
              <a:buFont typeface="Arial" panose="020B0604020202020204" pitchFamily="34" charset="0"/>
              <a:buChar char="•"/>
            </a:pPr>
            <a:r>
              <a:rPr lang="fr-FR" sz="1400" dirty="0" err="1"/>
              <a:t>Purpose</a:t>
            </a:r>
            <a:r>
              <a:rPr lang="fr-FR" sz="1400" dirty="0"/>
              <a:t> : </a:t>
            </a:r>
            <a:r>
              <a:rPr lang="fr-FR" sz="1400" dirty="0" err="1"/>
              <a:t>give</a:t>
            </a:r>
            <a:r>
              <a:rPr lang="fr-FR" sz="1400" dirty="0"/>
              <a:t> conclusion about transaction </a:t>
            </a:r>
            <a:r>
              <a:rPr lang="fr-FR" sz="1400" dirty="0" err="1"/>
              <a:t>price</a:t>
            </a:r>
            <a:r>
              <a:rPr lang="fr-FR" sz="1400" dirty="0"/>
              <a:t> influence. Is </a:t>
            </a:r>
            <a:r>
              <a:rPr lang="fr-FR" sz="1400" dirty="0" err="1"/>
              <a:t>it</a:t>
            </a:r>
            <a:r>
              <a:rPr lang="fr-FR" sz="1400" dirty="0"/>
              <a:t> </a:t>
            </a:r>
            <a:r>
              <a:rPr lang="fr-FR" sz="1400" dirty="0" err="1"/>
              <a:t>clearly</a:t>
            </a:r>
            <a:r>
              <a:rPr lang="fr-FR" sz="1400" dirty="0"/>
              <a:t> distinct to </a:t>
            </a:r>
            <a:r>
              <a:rPr lang="fr-FR" sz="1400" dirty="0" err="1"/>
              <a:t>be</a:t>
            </a:r>
            <a:r>
              <a:rPr lang="fr-FR" sz="1400" dirty="0"/>
              <a:t> </a:t>
            </a:r>
            <a:r>
              <a:rPr lang="fr-FR" sz="1400" dirty="0" err="1"/>
              <a:t>predictible</a:t>
            </a:r>
            <a:r>
              <a:rPr lang="fr-FR" sz="1400" dirty="0"/>
              <a:t> ? Is </a:t>
            </a:r>
            <a:r>
              <a:rPr lang="fr-FR" sz="1400" dirty="0" err="1"/>
              <a:t>it</a:t>
            </a:r>
            <a:r>
              <a:rPr lang="fr-FR" sz="1400" dirty="0"/>
              <a:t> </a:t>
            </a:r>
            <a:r>
              <a:rPr lang="fr-FR" sz="1400" dirty="0" err="1"/>
              <a:t>common</a:t>
            </a:r>
            <a:r>
              <a:rPr lang="fr-FR" sz="1400" dirty="0"/>
              <a:t> to </a:t>
            </a:r>
            <a:r>
              <a:rPr lang="fr-FR" sz="1400" dirty="0" err="1"/>
              <a:t>these</a:t>
            </a:r>
            <a:r>
              <a:rPr lang="fr-FR" sz="1400" dirty="0"/>
              <a:t> countries/CPO ? Is </a:t>
            </a:r>
            <a:r>
              <a:rPr lang="fr-FR" sz="1400" dirty="0" err="1"/>
              <a:t>it</a:t>
            </a:r>
            <a:r>
              <a:rPr lang="fr-FR" sz="1400" dirty="0"/>
              <a:t> </a:t>
            </a:r>
            <a:r>
              <a:rPr lang="fr-FR" sz="1400" dirty="0" err="1"/>
              <a:t>function</a:t>
            </a:r>
            <a:r>
              <a:rPr lang="fr-FR" sz="1400" dirty="0"/>
              <a:t> of duration, </a:t>
            </a:r>
            <a:r>
              <a:rPr lang="fr-FR" sz="1400" dirty="0" err="1"/>
              <a:t>quantity</a:t>
            </a:r>
            <a:r>
              <a:rPr lang="fr-FR" sz="1400" dirty="0"/>
              <a:t>, CPO/MSP/Power segments, </a:t>
            </a:r>
            <a:r>
              <a:rPr lang="fr-FR" sz="1400" dirty="0" err="1"/>
              <a:t>other</a:t>
            </a:r>
            <a:r>
              <a:rPr lang="fr-FR" sz="1400" dirty="0"/>
              <a:t> </a:t>
            </a:r>
            <a:r>
              <a:rPr lang="fr-FR" sz="1400" dirty="0" err="1"/>
              <a:t>features</a:t>
            </a:r>
            <a:r>
              <a:rPr lang="fr-FR" sz="1400" dirty="0"/>
              <a:t> to </a:t>
            </a:r>
            <a:r>
              <a:rPr lang="fr-FR" sz="1400" dirty="0" err="1"/>
              <a:t>create</a:t>
            </a:r>
            <a:r>
              <a:rPr lang="fr-FR" sz="1400" dirty="0"/>
              <a:t>… ?</a:t>
            </a:r>
          </a:p>
          <a:p>
            <a:pPr marL="742950" lvl="1" indent="-285750">
              <a:buFont typeface="Arial" panose="020B0604020202020204" pitchFamily="34" charset="0"/>
              <a:buChar char="•"/>
            </a:pPr>
            <a:r>
              <a:rPr lang="fr-FR" sz="1400" dirty="0" err="1"/>
              <a:t>Whether</a:t>
            </a:r>
            <a:r>
              <a:rPr lang="fr-FR" sz="1400" dirty="0"/>
              <a:t> </a:t>
            </a:r>
            <a:r>
              <a:rPr lang="fr-FR" sz="1400" dirty="0" err="1"/>
              <a:t>general</a:t>
            </a:r>
            <a:r>
              <a:rPr lang="fr-FR" sz="1400" dirty="0"/>
              <a:t> conclusion or </a:t>
            </a:r>
            <a:r>
              <a:rPr lang="fr-FR" sz="1400" dirty="0" err="1"/>
              <a:t>numerical</a:t>
            </a:r>
            <a:r>
              <a:rPr lang="fr-FR" sz="1400" dirty="0"/>
              <a:t> </a:t>
            </a:r>
            <a:r>
              <a:rPr lang="fr-FR" sz="1400" dirty="0" err="1"/>
              <a:t>statement</a:t>
            </a:r>
            <a:r>
              <a:rPr lang="fr-FR" sz="1400" dirty="0"/>
              <a:t> (% </a:t>
            </a:r>
            <a:r>
              <a:rPr lang="fr-FR" sz="1400" dirty="0" err="1"/>
              <a:t>dependency</a:t>
            </a:r>
            <a:r>
              <a:rPr lang="fr-FR" sz="1400" dirty="0"/>
              <a:t>, interpolation </a:t>
            </a:r>
            <a:r>
              <a:rPr lang="fr-FR" sz="1400" dirty="0" err="1"/>
              <a:t>parameters</a:t>
            </a:r>
            <a:r>
              <a:rPr lang="fr-FR" sz="1400" dirty="0"/>
              <a:t>) </a:t>
            </a:r>
            <a:r>
              <a:rPr lang="fr-FR" sz="1400" dirty="0" err="1"/>
              <a:t>depending</a:t>
            </a:r>
            <a:r>
              <a:rPr lang="fr-FR" sz="1400" dirty="0"/>
              <a:t> of the </a:t>
            </a:r>
            <a:r>
              <a:rPr lang="fr-FR" sz="1400" dirty="0" err="1"/>
              <a:t>accuracy</a:t>
            </a:r>
            <a:r>
              <a:rPr lang="fr-FR" sz="1400" dirty="0"/>
              <a:t> of the </a:t>
            </a:r>
            <a:r>
              <a:rPr lang="fr-FR" sz="1400" dirty="0" err="1"/>
              <a:t>dataset</a:t>
            </a:r>
            <a:r>
              <a:rPr lang="fr-FR" sz="1400" dirty="0"/>
              <a:t>, </a:t>
            </a:r>
            <a:r>
              <a:rPr lang="fr-FR" sz="1400" dirty="0" err="1"/>
              <a:t>working</a:t>
            </a:r>
            <a:r>
              <a:rPr lang="fr-FR" sz="1400" dirty="0"/>
              <a:t> time…</a:t>
            </a:r>
          </a:p>
          <a:p>
            <a:pPr marL="742950" lvl="1" indent="-285750">
              <a:buFont typeface="Arial" panose="020B0604020202020204" pitchFamily="34" charset="0"/>
              <a:buChar char="•"/>
            </a:pPr>
            <a:endParaRPr lang="fr-FR" sz="1400" dirty="0"/>
          </a:p>
          <a:p>
            <a:pPr marL="285750" indent="-285750">
              <a:buFont typeface="Arial" panose="020B0604020202020204" pitchFamily="34" charset="0"/>
              <a:buChar char="•"/>
            </a:pPr>
            <a:r>
              <a:rPr lang="fr-FR" sz="1400" dirty="0"/>
              <a:t>Informative </a:t>
            </a:r>
            <a:r>
              <a:rPr lang="fr-FR" sz="1400" dirty="0" err="1"/>
              <a:t>schedule</a:t>
            </a:r>
            <a:r>
              <a:rPr lang="fr-FR" sz="1400" dirty="0"/>
              <a:t> : </a:t>
            </a:r>
            <a:r>
              <a:rPr lang="fr-FR" sz="1400" dirty="0" err="1"/>
              <a:t>February</a:t>
            </a:r>
            <a:r>
              <a:rPr lang="fr-FR" sz="1400" dirty="0"/>
              <a:t> 16th to March 15th</a:t>
            </a:r>
          </a:p>
          <a:p>
            <a:pPr marL="285750" indent="-285750">
              <a:buFont typeface="Arial" panose="020B0604020202020204" pitchFamily="34" charset="0"/>
              <a:buChar char="•"/>
            </a:pPr>
            <a:endParaRPr lang="fr-FR" sz="1400" dirty="0"/>
          </a:p>
          <a:p>
            <a:pPr marL="285750" indent="-285750">
              <a:buFont typeface="Arial" panose="020B0604020202020204" pitchFamily="34" charset="0"/>
              <a:buChar char="•"/>
            </a:pPr>
            <a:r>
              <a:rPr lang="fr-FR" sz="1400" dirty="0" err="1"/>
              <a:t>Available</a:t>
            </a:r>
            <a:r>
              <a:rPr lang="fr-FR" sz="1400" dirty="0"/>
              <a:t> </a:t>
            </a:r>
            <a:r>
              <a:rPr lang="fr-FR" sz="1400" dirty="0" err="1"/>
              <a:t>datasets</a:t>
            </a:r>
            <a:r>
              <a:rPr lang="fr-FR" sz="1400" dirty="0"/>
              <a:t> : </a:t>
            </a:r>
          </a:p>
          <a:p>
            <a:pPr marL="742950" lvl="1" indent="-285750">
              <a:buFont typeface="Arial" panose="020B0604020202020204" pitchFamily="34" charset="0"/>
              <a:buChar char="•"/>
            </a:pPr>
            <a:r>
              <a:rPr lang="fr-FR" sz="1400" dirty="0"/>
              <a:t>Transactions </a:t>
            </a:r>
            <a:r>
              <a:rPr lang="fr-FR" sz="1400" dirty="0" err="1"/>
              <a:t>filtered</a:t>
            </a:r>
            <a:r>
              <a:rPr lang="fr-FR" sz="1400" dirty="0"/>
              <a:t> to 3 countries (NL, DE, FR) and 3 </a:t>
            </a:r>
            <a:r>
              <a:rPr lang="fr-FR" sz="1400" dirty="0" err="1"/>
              <a:t>CPOs</a:t>
            </a:r>
            <a:r>
              <a:rPr lang="fr-FR" sz="1400" dirty="0"/>
              <a:t> (Last Mile Solutions, </a:t>
            </a:r>
            <a:r>
              <a:rPr lang="fr-FR" sz="1400" dirty="0" err="1"/>
              <a:t>TotalEnergies</a:t>
            </a:r>
            <a:r>
              <a:rPr lang="fr-FR" sz="1400" dirty="0"/>
              <a:t>, Charge Point)</a:t>
            </a:r>
          </a:p>
          <a:p>
            <a:pPr marL="742950" lvl="1" indent="-285750">
              <a:buFont typeface="Arial" panose="020B0604020202020204" pitchFamily="34" charset="0"/>
              <a:buChar char="•"/>
            </a:pPr>
            <a:r>
              <a:rPr lang="fr-FR" sz="1400" dirty="0"/>
              <a:t>Transactions over 2023 </a:t>
            </a:r>
            <a:r>
              <a:rPr lang="fr-FR" sz="1400" dirty="0" err="1"/>
              <a:t>using</a:t>
            </a:r>
            <a:r>
              <a:rPr lang="fr-FR" sz="1400" dirty="0"/>
              <a:t> </a:t>
            </a:r>
            <a:r>
              <a:rPr lang="fr-FR" sz="1400" b="1" dirty="0" err="1"/>
              <a:t>mainly</a:t>
            </a:r>
            <a:r>
              <a:rPr lang="fr-FR" sz="1400" dirty="0"/>
              <a:t> </a:t>
            </a:r>
            <a:r>
              <a:rPr lang="fr-FR" sz="1400" dirty="0" err="1"/>
              <a:t>Bemo</a:t>
            </a:r>
            <a:r>
              <a:rPr lang="fr-FR" sz="1400" dirty="0"/>
              <a:t> </a:t>
            </a:r>
            <a:r>
              <a:rPr lang="fr-FR" sz="1400" dirty="0" err="1"/>
              <a:t>Pricer</a:t>
            </a:r>
            <a:r>
              <a:rPr lang="fr-FR" sz="1400" dirty="0"/>
              <a:t> V1 (</a:t>
            </a:r>
            <a:r>
              <a:rPr lang="fr-FR" sz="1400" dirty="0" err="1"/>
              <a:t>less</a:t>
            </a:r>
            <a:r>
              <a:rPr lang="fr-FR" sz="1400" dirty="0"/>
              <a:t> </a:t>
            </a:r>
            <a:r>
              <a:rPr lang="fr-FR" sz="1400" dirty="0" err="1"/>
              <a:t>accurate</a:t>
            </a:r>
            <a:r>
              <a:rPr lang="fr-FR" sz="1400" dirty="0"/>
              <a:t>)</a:t>
            </a:r>
          </a:p>
          <a:p>
            <a:pPr marL="1200150" lvl="2" indent="-285750">
              <a:buFont typeface="Arial" panose="020B0604020202020204" pitchFamily="34" charset="0"/>
              <a:buChar char="•"/>
            </a:pPr>
            <a:r>
              <a:rPr lang="en-US" sz="1400" dirty="0"/>
              <a:t>Sampled_Dataset_Transactions_PricerV1_2023_filt_1_3</a:t>
            </a:r>
            <a:endParaRPr lang="fr-FR" sz="1400" dirty="0"/>
          </a:p>
          <a:p>
            <a:pPr marL="1200150" lvl="2" indent="-285750">
              <a:buFont typeface="Arial" panose="020B0604020202020204" pitchFamily="34" charset="0"/>
              <a:buChar char="•"/>
            </a:pPr>
            <a:r>
              <a:rPr lang="en-US" sz="1400" dirty="0"/>
              <a:t>Sampled_Dataset_Transactions_PricerV1_2023_filt_2_3</a:t>
            </a:r>
            <a:endParaRPr lang="fr-FR" sz="1400" dirty="0"/>
          </a:p>
          <a:p>
            <a:pPr marL="1200150" lvl="2" indent="-285750">
              <a:buFont typeface="Arial" panose="020B0604020202020204" pitchFamily="34" charset="0"/>
              <a:buChar char="•"/>
            </a:pPr>
            <a:r>
              <a:rPr lang="en-US" sz="1400" dirty="0"/>
              <a:t>Sampled_Dataset_Transactions_PricerV1_2023_filt_3_3</a:t>
            </a:r>
          </a:p>
          <a:p>
            <a:pPr marL="742950" lvl="1" indent="-285750">
              <a:buFont typeface="Arial" panose="020B0604020202020204" pitchFamily="34" charset="0"/>
              <a:buChar char="•"/>
            </a:pPr>
            <a:r>
              <a:rPr lang="fr-FR" sz="1400" dirty="0"/>
              <a:t>Transactions over </a:t>
            </a:r>
            <a:r>
              <a:rPr lang="fr-FR" sz="1400" dirty="0" err="1"/>
              <a:t>December</a:t>
            </a:r>
            <a:r>
              <a:rPr lang="fr-FR" sz="1400" dirty="0"/>
              <a:t> 2023 and </a:t>
            </a:r>
            <a:r>
              <a:rPr lang="fr-FR" sz="1400" dirty="0" err="1"/>
              <a:t>January</a:t>
            </a:r>
            <a:r>
              <a:rPr lang="fr-FR" sz="1400" dirty="0"/>
              <a:t> 2024 </a:t>
            </a:r>
            <a:r>
              <a:rPr lang="fr-FR" sz="1400" dirty="0" err="1"/>
              <a:t>using</a:t>
            </a:r>
            <a:r>
              <a:rPr lang="fr-FR" sz="1400" dirty="0"/>
              <a:t> </a:t>
            </a:r>
            <a:r>
              <a:rPr lang="fr-FR" sz="1400" dirty="0" err="1"/>
              <a:t>Bemo</a:t>
            </a:r>
            <a:r>
              <a:rPr lang="fr-FR" sz="1400" dirty="0"/>
              <a:t> </a:t>
            </a:r>
            <a:r>
              <a:rPr lang="fr-FR" sz="1400" dirty="0" err="1"/>
              <a:t>Pricer</a:t>
            </a:r>
            <a:r>
              <a:rPr lang="fr-FR" sz="1400" dirty="0"/>
              <a:t> V2 (more </a:t>
            </a:r>
            <a:r>
              <a:rPr lang="fr-FR" sz="1400" dirty="0" err="1"/>
              <a:t>accurate</a:t>
            </a:r>
            <a:r>
              <a:rPr lang="fr-FR" sz="1400" dirty="0"/>
              <a:t>)</a:t>
            </a:r>
          </a:p>
          <a:p>
            <a:pPr marL="742950" lvl="1" indent="-285750">
              <a:buFont typeface="Arial" panose="020B0604020202020204" pitchFamily="34" charset="0"/>
              <a:buChar char="•"/>
            </a:pPr>
            <a:r>
              <a:rPr lang="fr-FR" sz="1400" dirty="0" err="1"/>
              <a:t>Optional</a:t>
            </a:r>
            <a:r>
              <a:rPr lang="fr-FR" sz="1400" dirty="0"/>
              <a:t> : EVSE </a:t>
            </a:r>
            <a:r>
              <a:rPr lang="fr-FR" sz="1400" dirty="0" err="1"/>
              <a:t>dataset</a:t>
            </a:r>
            <a:r>
              <a:rPr lang="fr-FR" sz="1400" dirty="0"/>
              <a:t> can </a:t>
            </a:r>
            <a:r>
              <a:rPr lang="fr-FR" sz="1400" dirty="0" err="1"/>
              <a:t>be</a:t>
            </a:r>
            <a:r>
              <a:rPr lang="fr-FR" sz="1400" dirty="0"/>
              <a:t> </a:t>
            </a:r>
            <a:r>
              <a:rPr lang="fr-FR" sz="1400" dirty="0" err="1"/>
              <a:t>found</a:t>
            </a:r>
            <a:r>
              <a:rPr lang="fr-FR" sz="1400" dirty="0"/>
              <a:t> </a:t>
            </a:r>
            <a:r>
              <a:rPr lang="fr-FR" sz="1400" dirty="0" err="1"/>
              <a:t>taking</a:t>
            </a:r>
            <a:r>
              <a:rPr lang="fr-FR" sz="1400" dirty="0"/>
              <a:t> unique </a:t>
            </a:r>
            <a:r>
              <a:rPr lang="fr-FR" sz="1400" dirty="0" err="1"/>
              <a:t>reference</a:t>
            </a:r>
            <a:r>
              <a:rPr lang="fr-FR" sz="1400" dirty="0"/>
              <a:t> of </a:t>
            </a:r>
            <a:r>
              <a:rPr lang="fr-FR" sz="1400" dirty="0" err="1"/>
              <a:t>EVSE_Id</a:t>
            </a:r>
            <a:r>
              <a:rPr lang="fr-FR" sz="1400" dirty="0"/>
              <a:t> in </a:t>
            </a:r>
            <a:r>
              <a:rPr lang="fr-FR" sz="1400" dirty="0" err="1"/>
              <a:t>these</a:t>
            </a:r>
            <a:r>
              <a:rPr lang="fr-FR" sz="1400" dirty="0"/>
              <a:t> </a:t>
            </a:r>
            <a:r>
              <a:rPr lang="fr-FR" sz="1400" dirty="0" err="1"/>
              <a:t>previous</a:t>
            </a:r>
            <a:r>
              <a:rPr lang="fr-FR" sz="1400" dirty="0"/>
              <a:t> </a:t>
            </a:r>
            <a:r>
              <a:rPr lang="fr-FR" sz="1400" dirty="0" err="1"/>
              <a:t>datasets</a:t>
            </a:r>
            <a:r>
              <a:rPr lang="fr-FR" sz="1400" dirty="0"/>
              <a:t>. Physical </a:t>
            </a:r>
            <a:r>
              <a:rPr lang="fr-FR" sz="1400" dirty="0" err="1"/>
              <a:t>features</a:t>
            </a:r>
            <a:r>
              <a:rPr lang="fr-FR" sz="1400" dirty="0"/>
              <a:t> </a:t>
            </a:r>
            <a:r>
              <a:rPr lang="fr-FR" sz="1400" dirty="0" err="1"/>
              <a:t>related</a:t>
            </a:r>
            <a:r>
              <a:rPr lang="fr-FR" sz="1400" dirty="0"/>
              <a:t> to EVSE are </a:t>
            </a:r>
            <a:r>
              <a:rPr lang="fr-FR" sz="1400" dirty="0" err="1"/>
              <a:t>just</a:t>
            </a:r>
            <a:r>
              <a:rPr lang="fr-FR" sz="1400" dirty="0"/>
              <a:t> Latitude, Longitude, </a:t>
            </a:r>
            <a:r>
              <a:rPr lang="fr-FR" sz="1400" dirty="0" err="1"/>
              <a:t>Country_Code</a:t>
            </a:r>
            <a:r>
              <a:rPr lang="fr-FR" sz="1400" dirty="0"/>
              <a:t>, </a:t>
            </a:r>
            <a:r>
              <a:rPr lang="fr-FR" sz="1400" dirty="0" err="1"/>
              <a:t>Country_Name</a:t>
            </a:r>
            <a:r>
              <a:rPr lang="fr-FR" sz="1400" dirty="0"/>
              <a:t>, Power, </a:t>
            </a:r>
            <a:r>
              <a:rPr lang="fr-FR" sz="1400" dirty="0" err="1"/>
              <a:t>Power_segment</a:t>
            </a:r>
            <a:r>
              <a:rPr lang="fr-FR" sz="1400" dirty="0"/>
              <a:t>. </a:t>
            </a:r>
          </a:p>
          <a:p>
            <a:pPr lvl="1"/>
            <a:endParaRPr lang="fr-FR" sz="1400" dirty="0"/>
          </a:p>
          <a:p>
            <a:pPr marL="285750" indent="-285750">
              <a:buFont typeface="Arial" panose="020B0604020202020204" pitchFamily="34" charset="0"/>
              <a:buChar char="•"/>
            </a:pPr>
            <a:r>
              <a:rPr lang="fr-FR" sz="1400" dirty="0" err="1"/>
              <a:t>Hints</a:t>
            </a:r>
            <a:r>
              <a:rPr lang="fr-FR" sz="1400" dirty="0"/>
              <a:t> : </a:t>
            </a:r>
            <a:r>
              <a:rPr lang="fr-FR" sz="1400" dirty="0" err="1"/>
              <a:t>begin</a:t>
            </a:r>
            <a:r>
              <a:rPr lang="fr-FR" sz="1400" dirty="0"/>
              <a:t> </a:t>
            </a:r>
            <a:r>
              <a:rPr lang="fr-FR" sz="1400" dirty="0" err="1"/>
              <a:t>with</a:t>
            </a:r>
            <a:r>
              <a:rPr lang="fr-FR" sz="1400" dirty="0"/>
              <a:t> V2 </a:t>
            </a:r>
            <a:r>
              <a:rPr lang="fr-FR" sz="1400" dirty="0" err="1"/>
              <a:t>dataset</a:t>
            </a:r>
            <a:r>
              <a:rPr lang="fr-FR" sz="1400" dirty="0"/>
              <a:t> and do simple </a:t>
            </a:r>
            <a:r>
              <a:rPr lang="fr-FR" sz="1400" dirty="0" err="1"/>
              <a:t>correlations</a:t>
            </a:r>
            <a:r>
              <a:rPr lang="fr-FR" sz="1400" dirty="0"/>
              <a:t> first of </a:t>
            </a:r>
            <a:r>
              <a:rPr lang="fr-FR" sz="1400" dirty="0" err="1"/>
              <a:t>Transaction_Price</a:t>
            </a:r>
            <a:r>
              <a:rPr lang="fr-FR" sz="1400" dirty="0"/>
              <a:t> </a:t>
            </a:r>
            <a:r>
              <a:rPr lang="fr-FR" sz="1400" dirty="0" err="1"/>
              <a:t>with</a:t>
            </a:r>
            <a:r>
              <a:rPr lang="fr-FR" sz="1400" dirty="0"/>
              <a:t> basic params like Duration, </a:t>
            </a:r>
            <a:r>
              <a:rPr lang="fr-FR" sz="1400" dirty="0" err="1"/>
              <a:t>Quantity</a:t>
            </a:r>
            <a:r>
              <a:rPr lang="fr-FR" sz="1400" dirty="0"/>
              <a:t>, </a:t>
            </a:r>
            <a:r>
              <a:rPr lang="fr-FR" sz="1400" dirty="0" err="1"/>
              <a:t>Power_segment</a:t>
            </a:r>
            <a:r>
              <a:rPr lang="fr-FR" sz="1400" dirty="0"/>
              <a:t>. Try </a:t>
            </a:r>
            <a:r>
              <a:rPr lang="fr-FR" sz="1400" dirty="0" err="1"/>
              <a:t>correlation</a:t>
            </a:r>
            <a:r>
              <a:rPr lang="fr-FR" sz="1400" dirty="0"/>
              <a:t> </a:t>
            </a:r>
            <a:r>
              <a:rPr lang="fr-FR" sz="1400" dirty="0" err="1"/>
              <a:t>based</a:t>
            </a:r>
            <a:r>
              <a:rPr lang="fr-FR" sz="1400" dirty="0"/>
              <a:t> on new </a:t>
            </a:r>
            <a:r>
              <a:rPr lang="fr-FR" sz="1400" dirty="0" err="1"/>
              <a:t>features</a:t>
            </a:r>
            <a:r>
              <a:rPr lang="fr-FR" sz="1400" dirty="0"/>
              <a:t> to </a:t>
            </a:r>
            <a:r>
              <a:rPr lang="fr-FR" sz="1400" dirty="0" err="1"/>
              <a:t>assess</a:t>
            </a:r>
            <a:r>
              <a:rPr lang="fr-FR" sz="1400" dirty="0"/>
              <a:t> a </a:t>
            </a:r>
            <a:r>
              <a:rPr lang="fr-FR" sz="1400" dirty="0" err="1"/>
              <a:t>potential</a:t>
            </a:r>
            <a:r>
              <a:rPr lang="fr-FR" sz="1400" dirty="0"/>
              <a:t> </a:t>
            </a:r>
            <a:r>
              <a:rPr lang="fr-FR" sz="1400" dirty="0" err="1"/>
              <a:t>prediction</a:t>
            </a:r>
            <a:r>
              <a:rPr lang="fr-FR" sz="1400" dirty="0"/>
              <a:t>. This can </a:t>
            </a:r>
            <a:r>
              <a:rPr lang="fr-FR" sz="1400" dirty="0" err="1"/>
              <a:t>be</a:t>
            </a:r>
            <a:r>
              <a:rPr lang="fr-FR" sz="1400" dirty="0"/>
              <a:t> </a:t>
            </a:r>
            <a:r>
              <a:rPr lang="fr-FR" sz="1400" dirty="0" err="1"/>
              <a:t>done</a:t>
            </a:r>
            <a:r>
              <a:rPr lang="fr-FR" sz="1400" dirty="0"/>
              <a:t> </a:t>
            </a:r>
            <a:r>
              <a:rPr lang="fr-FR" sz="1400" dirty="0" err="1"/>
              <a:t>creating</a:t>
            </a:r>
            <a:r>
              <a:rPr lang="fr-FR" sz="1400" dirty="0"/>
              <a:t> </a:t>
            </a:r>
            <a:r>
              <a:rPr lang="fr-FR" sz="1400" dirty="0" err="1"/>
              <a:t>market</a:t>
            </a:r>
            <a:r>
              <a:rPr lang="fr-FR" sz="1400" dirty="0"/>
              <a:t> segment </a:t>
            </a:r>
            <a:r>
              <a:rPr lang="fr-FR" sz="1400" dirty="0" err="1"/>
              <a:t>feature</a:t>
            </a:r>
            <a:r>
              <a:rPr lang="fr-FR" sz="1400" dirty="0"/>
              <a:t> </a:t>
            </a:r>
            <a:r>
              <a:rPr lang="fr-FR" sz="1400" dirty="0" err="1"/>
              <a:t>using</a:t>
            </a:r>
            <a:r>
              <a:rPr lang="fr-FR" sz="1400" dirty="0"/>
              <a:t> EVSE (for instance </a:t>
            </a:r>
            <a:r>
              <a:rPr lang="fr-FR" sz="1400" dirty="0" err="1"/>
              <a:t>weekly</a:t>
            </a:r>
            <a:r>
              <a:rPr lang="fr-FR" sz="1400" dirty="0"/>
              <a:t> </a:t>
            </a:r>
            <a:r>
              <a:rPr lang="fr-FR" sz="1400" dirty="0" err="1"/>
              <a:t>median</a:t>
            </a:r>
            <a:r>
              <a:rPr lang="fr-FR" sz="1400" dirty="0"/>
              <a:t> </a:t>
            </a:r>
            <a:r>
              <a:rPr lang="fr-FR" sz="1400" dirty="0" err="1"/>
              <a:t>quantity</a:t>
            </a:r>
            <a:r>
              <a:rPr lang="fr-FR" sz="1400" dirty="0"/>
              <a:t> value for </a:t>
            </a:r>
            <a:r>
              <a:rPr lang="fr-FR" sz="1400" dirty="0" err="1"/>
              <a:t>each</a:t>
            </a:r>
            <a:r>
              <a:rPr lang="fr-FR" sz="1400" dirty="0"/>
              <a:t> EVSE and </a:t>
            </a:r>
            <a:r>
              <a:rPr lang="fr-FR" sz="1400" dirty="0" err="1"/>
              <a:t>then</a:t>
            </a:r>
            <a:r>
              <a:rPr lang="fr-FR" sz="1400" dirty="0"/>
              <a:t> building ML clustering).</a:t>
            </a:r>
          </a:p>
          <a:p>
            <a:pPr marL="285750" indent="-285750">
              <a:buFont typeface="Arial" panose="020B0604020202020204" pitchFamily="34" charset="0"/>
              <a:buChar char="•"/>
            </a:pPr>
            <a:endParaRPr lang="fr-FR" sz="1400" dirty="0"/>
          </a:p>
        </p:txBody>
      </p:sp>
      <p:sp>
        <p:nvSpPr>
          <p:cNvPr id="6" name="Espace réservé du numéro de diapositive 5">
            <a:extLst>
              <a:ext uri="{FF2B5EF4-FFF2-40B4-BE49-F238E27FC236}">
                <a16:creationId xmlns:a16="http://schemas.microsoft.com/office/drawing/2014/main" id="{EC9D517D-70A7-51E5-CA4E-DCE743F41F1A}"/>
              </a:ext>
            </a:extLst>
          </p:cNvPr>
          <p:cNvSpPr>
            <a:spLocks noGrp="1"/>
          </p:cNvSpPr>
          <p:nvPr>
            <p:ph type="sldNum" sz="quarter" idx="18"/>
          </p:nvPr>
        </p:nvSpPr>
        <p:spPr/>
        <p:txBody>
          <a:bodyPr/>
          <a:lstStyle/>
          <a:p>
            <a:fld id="{E9F690C6-F4CD-4FC2-95DF-E832AE3B8C23}" type="slidenum">
              <a:rPr lang="fr-FR" smtClean="0"/>
              <a:pPr/>
              <a:t>4</a:t>
            </a:fld>
            <a:endParaRPr lang="fr-FR"/>
          </a:p>
        </p:txBody>
      </p:sp>
    </p:spTree>
    <p:extLst>
      <p:ext uri="{BB962C8B-B14F-4D97-AF65-F5344CB8AC3E}">
        <p14:creationId xmlns:p14="http://schemas.microsoft.com/office/powerpoint/2010/main" val="31745840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A691175-E3FF-7DC1-B541-0E7FF0C4A2BF}"/>
              </a:ext>
            </a:extLst>
          </p:cNvPr>
          <p:cNvGraphicFramePr>
            <a:graphicFrameLocks noChangeAspect="1"/>
          </p:cNvGraphicFramePr>
          <p:nvPr>
            <p:custDataLst>
              <p:tags r:id="rId1"/>
            </p:custDataLst>
            <p:extLst>
              <p:ext uri="{D42A27DB-BD31-4B8C-83A1-F6EECF244321}">
                <p14:modId xmlns:p14="http://schemas.microsoft.com/office/powerpoint/2010/main" val="30930829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95" imgH="394" progId="TCLayout.ActiveDocument.1">
                  <p:embed/>
                </p:oleObj>
              </mc:Choice>
              <mc:Fallback>
                <p:oleObj name="Diapositive think-cell" r:id="rId3" imgW="395" imgH="394" progId="TCLayout.ActiveDocument.1">
                  <p:embed/>
                  <p:pic>
                    <p:nvPicPr>
                      <p:cNvPr id="5" name="think-cell data - do not delete" hidden="1">
                        <a:extLst>
                          <a:ext uri="{FF2B5EF4-FFF2-40B4-BE49-F238E27FC236}">
                            <a16:creationId xmlns:a16="http://schemas.microsoft.com/office/drawing/2014/main" id="{0A691175-E3FF-7DC1-B541-0E7FF0C4A2B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Espace réservé du texte 3">
            <a:extLst>
              <a:ext uri="{FF2B5EF4-FFF2-40B4-BE49-F238E27FC236}">
                <a16:creationId xmlns:a16="http://schemas.microsoft.com/office/drawing/2014/main" id="{430F12B2-8A30-D6A2-6AC7-ABAE7B02E283}"/>
              </a:ext>
            </a:extLst>
          </p:cNvPr>
          <p:cNvSpPr>
            <a:spLocks noGrp="1"/>
          </p:cNvSpPr>
          <p:nvPr>
            <p:ph type="body" sz="quarter" idx="16"/>
          </p:nvPr>
        </p:nvSpPr>
        <p:spPr>
          <a:xfrm>
            <a:off x="677891" y="1070461"/>
            <a:ext cx="11156825" cy="4531865"/>
          </a:xfrm>
        </p:spPr>
        <p:txBody>
          <a:bodyPr/>
          <a:lstStyle/>
          <a:p>
            <a:pPr marL="342900" indent="-342900" fontAlgn="base">
              <a:buSzPts val="1000"/>
              <a:buFont typeface="Symbol" panose="05050102010706020507" pitchFamily="18" charset="2"/>
              <a:buChar char=""/>
              <a:tabLst>
                <a:tab pos="457200" algn="l"/>
              </a:tabLst>
            </a:pPr>
            <a:r>
              <a:rPr lang="fr-FR" sz="1400" dirty="0" err="1"/>
              <a:t>Known</a:t>
            </a:r>
            <a:r>
              <a:rPr lang="fr-FR" sz="1400" dirty="0"/>
              <a:t> </a:t>
            </a:r>
            <a:r>
              <a:rPr lang="fr-FR" sz="1400" dirty="0" err="1"/>
              <a:t>market</a:t>
            </a:r>
            <a:r>
              <a:rPr lang="fr-FR" sz="1400" dirty="0"/>
              <a:t> segments are : </a:t>
            </a:r>
            <a:endParaRPr lang="fr-FR" sz="1400" dirty="0">
              <a:effectLst/>
            </a:endParaRPr>
          </a:p>
          <a:p>
            <a:pPr marL="800100" lvl="1" indent="-342900" fontAlgn="base">
              <a:buSzPts val="1000"/>
              <a:buFont typeface="Symbol" panose="05050102010706020507" pitchFamily="18" charset="2"/>
              <a:buChar char=""/>
              <a:tabLst>
                <a:tab pos="457200" algn="l"/>
              </a:tabLst>
            </a:pPr>
            <a:r>
              <a:rPr lang="fr-FR" sz="1400" dirty="0" err="1">
                <a:effectLst/>
              </a:rPr>
              <a:t>EV_hub</a:t>
            </a:r>
            <a:r>
              <a:rPr lang="fr-FR" sz="1400" dirty="0">
                <a:effectLst/>
              </a:rPr>
              <a:t> : highway stations (DC </a:t>
            </a:r>
            <a:r>
              <a:rPr lang="fr-FR" sz="1400" dirty="0"/>
              <a:t>high </a:t>
            </a:r>
            <a:r>
              <a:rPr lang="fr-FR" sz="1400" dirty="0">
                <a:effectLst/>
              </a:rPr>
              <a:t>power</a:t>
            </a:r>
            <a:r>
              <a:rPr lang="fr-FR" sz="1400" dirty="0"/>
              <a:t> </a:t>
            </a:r>
            <a:r>
              <a:rPr lang="fr-FR" sz="1400" dirty="0">
                <a:effectLst/>
              </a:rPr>
              <a:t>segments)</a:t>
            </a:r>
          </a:p>
          <a:p>
            <a:pPr marL="800100" lvl="1" indent="-342900" fontAlgn="base">
              <a:buSzPts val="1000"/>
              <a:buFont typeface="Symbol" panose="05050102010706020507" pitchFamily="18" charset="2"/>
              <a:buChar char=""/>
              <a:tabLst>
                <a:tab pos="457200" algn="l"/>
              </a:tabLst>
            </a:pPr>
            <a:r>
              <a:rPr lang="fr-FR" sz="1400" dirty="0">
                <a:effectLst/>
              </a:rPr>
              <a:t>B2G : on the road (</a:t>
            </a:r>
            <a:r>
              <a:rPr lang="fr-FR" sz="1400" dirty="0" err="1">
                <a:effectLst/>
              </a:rPr>
              <a:t>low</a:t>
            </a:r>
            <a:r>
              <a:rPr lang="fr-FR" sz="1400" dirty="0">
                <a:effectLst/>
              </a:rPr>
              <a:t>/high AC power</a:t>
            </a:r>
            <a:r>
              <a:rPr lang="fr-FR" sz="1400" dirty="0"/>
              <a:t> </a:t>
            </a:r>
            <a:r>
              <a:rPr lang="fr-FR" sz="1400" dirty="0">
                <a:effectLst/>
              </a:rPr>
              <a:t>segment, </a:t>
            </a:r>
            <a:r>
              <a:rPr lang="fr-FR" sz="1400" dirty="0" err="1">
                <a:effectLst/>
              </a:rPr>
              <a:t>maybe</a:t>
            </a:r>
            <a:r>
              <a:rPr lang="fr-FR" sz="1400" dirty="0">
                <a:effectLst/>
              </a:rPr>
              <a:t> </a:t>
            </a:r>
            <a:r>
              <a:rPr lang="fr-FR" sz="1400" dirty="0" err="1">
                <a:effectLst/>
              </a:rPr>
              <a:t>also</a:t>
            </a:r>
            <a:r>
              <a:rPr lang="fr-FR" sz="1400" dirty="0">
                <a:effectLst/>
              </a:rPr>
              <a:t> DC charge)</a:t>
            </a:r>
          </a:p>
          <a:p>
            <a:pPr marL="800100" lvl="1" indent="-342900" fontAlgn="base">
              <a:buSzPts val="1000"/>
              <a:buFont typeface="Symbol" panose="05050102010706020507" pitchFamily="18" charset="2"/>
              <a:buChar char=""/>
              <a:tabLst>
                <a:tab pos="457200" algn="l"/>
              </a:tabLst>
            </a:pPr>
            <a:r>
              <a:rPr lang="fr-FR" sz="1400" dirty="0">
                <a:effectLst/>
              </a:rPr>
              <a:t>B2B </a:t>
            </a:r>
            <a:r>
              <a:rPr lang="fr-FR" sz="1400" dirty="0" err="1">
                <a:effectLst/>
              </a:rPr>
              <a:t>hosting</a:t>
            </a:r>
            <a:r>
              <a:rPr lang="fr-FR" sz="1400" dirty="0">
                <a:effectLst/>
              </a:rPr>
              <a:t> (Leclerc, Truffaut, Campanile...) : on a </a:t>
            </a:r>
            <a:r>
              <a:rPr lang="fr-FR" sz="1400" dirty="0" err="1">
                <a:effectLst/>
              </a:rPr>
              <a:t>supermarket</a:t>
            </a:r>
            <a:r>
              <a:rPr lang="fr-FR" sz="1400" dirty="0">
                <a:effectLst/>
              </a:rPr>
              <a:t> car </a:t>
            </a:r>
            <a:r>
              <a:rPr lang="fr-FR" sz="1400" dirty="0" err="1">
                <a:effectLst/>
              </a:rPr>
              <a:t>park</a:t>
            </a:r>
            <a:r>
              <a:rPr lang="fr-FR" sz="1400" dirty="0">
                <a:effectLst/>
              </a:rPr>
              <a:t> for insta</a:t>
            </a:r>
            <a:r>
              <a:rPr lang="fr-FR" sz="1400" dirty="0"/>
              <a:t>nce </a:t>
            </a:r>
            <a:r>
              <a:rPr lang="fr-FR" sz="1400" dirty="0">
                <a:effectLst/>
              </a:rPr>
              <a:t>(</a:t>
            </a:r>
            <a:r>
              <a:rPr lang="fr-FR" sz="1400" dirty="0" err="1">
                <a:effectLst/>
              </a:rPr>
              <a:t>low</a:t>
            </a:r>
            <a:r>
              <a:rPr lang="fr-FR" sz="1400" dirty="0">
                <a:effectLst/>
              </a:rPr>
              <a:t>/high AC power</a:t>
            </a:r>
            <a:r>
              <a:rPr lang="fr-FR" sz="1400" dirty="0"/>
              <a:t> </a:t>
            </a:r>
            <a:r>
              <a:rPr lang="fr-FR" sz="1400" dirty="0">
                <a:effectLst/>
              </a:rPr>
              <a:t>segment, </a:t>
            </a:r>
            <a:r>
              <a:rPr lang="fr-FR" sz="1400" dirty="0" err="1">
                <a:effectLst/>
              </a:rPr>
              <a:t>maybe</a:t>
            </a:r>
            <a:r>
              <a:rPr lang="fr-FR" sz="1400" dirty="0">
                <a:effectLst/>
              </a:rPr>
              <a:t> </a:t>
            </a:r>
            <a:r>
              <a:rPr lang="fr-FR" sz="1400" dirty="0" err="1">
                <a:effectLst/>
              </a:rPr>
              <a:t>also</a:t>
            </a:r>
            <a:r>
              <a:rPr lang="fr-FR" sz="1400" dirty="0">
                <a:effectLst/>
              </a:rPr>
              <a:t> DC charge)</a:t>
            </a:r>
          </a:p>
          <a:p>
            <a:pPr marL="800100" lvl="1" indent="-342900" fontAlgn="base">
              <a:buSzPts val="1000"/>
              <a:buFont typeface="Symbol" panose="05050102010706020507" pitchFamily="18" charset="2"/>
              <a:buChar char=""/>
              <a:tabLst>
                <a:tab pos="457200" algn="l"/>
              </a:tabLst>
            </a:pPr>
            <a:endParaRPr lang="fr-FR" sz="1400" dirty="0">
              <a:effectLst/>
            </a:endParaRPr>
          </a:p>
          <a:p>
            <a:pPr marL="800100" lvl="1" indent="-342900" fontAlgn="base">
              <a:buSzPts val="1000"/>
              <a:buFont typeface="Symbol" panose="05050102010706020507" pitchFamily="18" charset="2"/>
              <a:buChar char=""/>
              <a:tabLst>
                <a:tab pos="457200" algn="l"/>
              </a:tabLst>
            </a:pPr>
            <a:r>
              <a:rPr lang="fr-FR" sz="1400" dirty="0"/>
              <a:t>«  </a:t>
            </a:r>
            <a:r>
              <a:rPr lang="fr-FR" sz="1400" dirty="0">
                <a:effectLst/>
              </a:rPr>
              <a:t>At home » : </a:t>
            </a:r>
            <a:r>
              <a:rPr lang="fr-FR" sz="1400" dirty="0" err="1">
                <a:effectLst/>
              </a:rPr>
              <a:t>low</a:t>
            </a:r>
            <a:r>
              <a:rPr lang="fr-FR" sz="1400" dirty="0">
                <a:effectLst/>
              </a:rPr>
              <a:t> AC power segment in a </a:t>
            </a:r>
            <a:r>
              <a:rPr lang="fr-FR" sz="1400" dirty="0" err="1">
                <a:effectLst/>
              </a:rPr>
              <a:t>domestic</a:t>
            </a:r>
            <a:r>
              <a:rPr lang="fr-FR" sz="1400" dirty="0">
                <a:effectLst/>
              </a:rPr>
              <a:t> charge </a:t>
            </a:r>
            <a:r>
              <a:rPr lang="fr-FR" sz="1400" dirty="0" err="1">
                <a:effectLst/>
              </a:rPr>
              <a:t>connector</a:t>
            </a:r>
            <a:endParaRPr lang="fr-FR" sz="1400" dirty="0">
              <a:effectLst/>
            </a:endParaRPr>
          </a:p>
          <a:p>
            <a:pPr marL="800100" lvl="1" indent="-342900" fontAlgn="base">
              <a:buSzPts val="1000"/>
              <a:buFont typeface="Symbol" panose="05050102010706020507" pitchFamily="18" charset="2"/>
              <a:buChar char=""/>
              <a:tabLst>
                <a:tab pos="457200" algn="l"/>
              </a:tabLst>
            </a:pPr>
            <a:r>
              <a:rPr lang="fr-FR" sz="1400" dirty="0">
                <a:effectLst/>
              </a:rPr>
              <a:t>« At </a:t>
            </a:r>
            <a:r>
              <a:rPr lang="fr-FR" sz="1400" dirty="0" err="1">
                <a:effectLst/>
              </a:rPr>
              <a:t>work</a:t>
            </a:r>
            <a:r>
              <a:rPr lang="fr-FR" sz="1400" dirty="0">
                <a:effectLst/>
              </a:rPr>
              <a:t> » : in a </a:t>
            </a:r>
            <a:r>
              <a:rPr lang="fr-FR" sz="1400" dirty="0" err="1">
                <a:effectLst/>
              </a:rPr>
              <a:t>company</a:t>
            </a:r>
            <a:r>
              <a:rPr lang="fr-FR" sz="1400" dirty="0">
                <a:effectLst/>
              </a:rPr>
              <a:t> car </a:t>
            </a:r>
            <a:r>
              <a:rPr lang="fr-FR" sz="1400" dirty="0" err="1">
                <a:effectLst/>
              </a:rPr>
              <a:t>park</a:t>
            </a:r>
            <a:r>
              <a:rPr lang="fr-FR" sz="1400" dirty="0">
                <a:effectLst/>
              </a:rPr>
              <a:t> (</a:t>
            </a:r>
            <a:r>
              <a:rPr lang="fr-FR" sz="1400" dirty="0" err="1">
                <a:effectLst/>
              </a:rPr>
              <a:t>low</a:t>
            </a:r>
            <a:r>
              <a:rPr lang="fr-FR" sz="1400" dirty="0">
                <a:effectLst/>
              </a:rPr>
              <a:t>/high AC power</a:t>
            </a:r>
            <a:r>
              <a:rPr lang="fr-FR" sz="1400" dirty="0"/>
              <a:t> </a:t>
            </a:r>
            <a:r>
              <a:rPr lang="fr-FR" sz="1400" dirty="0">
                <a:effectLst/>
              </a:rPr>
              <a:t>segment, </a:t>
            </a:r>
            <a:r>
              <a:rPr lang="fr-FR" sz="1400" dirty="0" err="1">
                <a:effectLst/>
              </a:rPr>
              <a:t>maybe</a:t>
            </a:r>
            <a:r>
              <a:rPr lang="fr-FR" sz="1400" dirty="0">
                <a:effectLst/>
              </a:rPr>
              <a:t> </a:t>
            </a:r>
            <a:r>
              <a:rPr lang="fr-FR" sz="1400" dirty="0" err="1">
                <a:effectLst/>
              </a:rPr>
              <a:t>also</a:t>
            </a:r>
            <a:r>
              <a:rPr lang="fr-FR" sz="1400" dirty="0">
                <a:effectLst/>
              </a:rPr>
              <a:t> DC charge)</a:t>
            </a:r>
          </a:p>
          <a:p>
            <a:endParaRPr lang="fr-FR" sz="1400" dirty="0"/>
          </a:p>
          <a:p>
            <a:pPr marL="285750" indent="-285750">
              <a:buFont typeface="Arial" panose="020B0604020202020204" pitchFamily="34" charset="0"/>
              <a:buChar char="•"/>
            </a:pPr>
            <a:endParaRPr lang="fr-FR" sz="1400" dirty="0"/>
          </a:p>
        </p:txBody>
      </p:sp>
      <p:sp>
        <p:nvSpPr>
          <p:cNvPr id="6" name="Espace réservé du numéro de diapositive 5">
            <a:extLst>
              <a:ext uri="{FF2B5EF4-FFF2-40B4-BE49-F238E27FC236}">
                <a16:creationId xmlns:a16="http://schemas.microsoft.com/office/drawing/2014/main" id="{EC9D517D-70A7-51E5-CA4E-DCE743F41F1A}"/>
              </a:ext>
            </a:extLst>
          </p:cNvPr>
          <p:cNvSpPr>
            <a:spLocks noGrp="1"/>
          </p:cNvSpPr>
          <p:nvPr>
            <p:ph type="sldNum" sz="quarter" idx="18"/>
          </p:nvPr>
        </p:nvSpPr>
        <p:spPr/>
        <p:txBody>
          <a:bodyPr/>
          <a:lstStyle/>
          <a:p>
            <a:fld id="{E9F690C6-F4CD-4FC2-95DF-E832AE3B8C23}" type="slidenum">
              <a:rPr lang="fr-FR" smtClean="0"/>
              <a:pPr/>
              <a:t>5</a:t>
            </a:fld>
            <a:endParaRPr lang="fr-FR"/>
          </a:p>
        </p:txBody>
      </p:sp>
    </p:spTree>
    <p:extLst>
      <p:ext uri="{BB962C8B-B14F-4D97-AF65-F5344CB8AC3E}">
        <p14:creationId xmlns:p14="http://schemas.microsoft.com/office/powerpoint/2010/main" val="331757624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A691175-E3FF-7DC1-B541-0E7FF0C4A2BF}"/>
              </a:ext>
            </a:extLst>
          </p:cNvPr>
          <p:cNvGraphicFramePr>
            <a:graphicFrameLocks noChangeAspect="1"/>
          </p:cNvGraphicFramePr>
          <p:nvPr>
            <p:custDataLst>
              <p:tags r:id="rId1"/>
            </p:custDataLst>
            <p:extLst>
              <p:ext uri="{D42A27DB-BD31-4B8C-83A1-F6EECF244321}">
                <p14:modId xmlns:p14="http://schemas.microsoft.com/office/powerpoint/2010/main" val="22490817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95" imgH="394" progId="TCLayout.ActiveDocument.1">
                  <p:embed/>
                </p:oleObj>
              </mc:Choice>
              <mc:Fallback>
                <p:oleObj name="Diapositive think-cell" r:id="rId3" imgW="395" imgH="394" progId="TCLayout.ActiveDocument.1">
                  <p:embed/>
                  <p:pic>
                    <p:nvPicPr>
                      <p:cNvPr id="5" name="think-cell data - do not delete" hidden="1">
                        <a:extLst>
                          <a:ext uri="{FF2B5EF4-FFF2-40B4-BE49-F238E27FC236}">
                            <a16:creationId xmlns:a16="http://schemas.microsoft.com/office/drawing/2014/main" id="{0A691175-E3FF-7DC1-B541-0E7FF0C4A2B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E52B8373-62D1-544B-7A5C-41B622D6A38F}"/>
              </a:ext>
            </a:extLst>
          </p:cNvPr>
          <p:cNvSpPr>
            <a:spLocks noGrp="1"/>
          </p:cNvSpPr>
          <p:nvPr>
            <p:ph type="title"/>
          </p:nvPr>
        </p:nvSpPr>
        <p:spPr>
          <a:xfrm>
            <a:off x="874868" y="302393"/>
            <a:ext cx="9738335" cy="649922"/>
          </a:xfrm>
        </p:spPr>
        <p:txBody>
          <a:bodyPr vert="horz"/>
          <a:lstStyle/>
          <a:p>
            <a:r>
              <a:rPr lang="fr-FR" dirty="0" err="1"/>
              <a:t>Features</a:t>
            </a:r>
            <a:r>
              <a:rPr lang="fr-FR" dirty="0"/>
              <a:t> description</a:t>
            </a:r>
          </a:p>
        </p:txBody>
      </p:sp>
      <p:sp>
        <p:nvSpPr>
          <p:cNvPr id="4" name="Espace réservé du texte 3">
            <a:extLst>
              <a:ext uri="{FF2B5EF4-FFF2-40B4-BE49-F238E27FC236}">
                <a16:creationId xmlns:a16="http://schemas.microsoft.com/office/drawing/2014/main" id="{430F12B2-8A30-D6A2-6AC7-ABAE7B02E283}"/>
              </a:ext>
            </a:extLst>
          </p:cNvPr>
          <p:cNvSpPr>
            <a:spLocks noGrp="1"/>
          </p:cNvSpPr>
          <p:nvPr>
            <p:ph type="body" sz="quarter" idx="16"/>
          </p:nvPr>
        </p:nvSpPr>
        <p:spPr>
          <a:xfrm>
            <a:off x="677891" y="1060186"/>
            <a:ext cx="11156825" cy="4531865"/>
          </a:xfrm>
        </p:spPr>
        <p:txBody>
          <a:bodyPr/>
          <a:lstStyle/>
          <a:p>
            <a:pPr marL="285750" indent="-285750">
              <a:buFont typeface="Arial" panose="020B0604020202020204" pitchFamily="34" charset="0"/>
              <a:buChar char="•"/>
            </a:pPr>
            <a:endParaRPr lang="fr-FR" sz="1400" dirty="0"/>
          </a:p>
          <a:p>
            <a:pPr marL="285750" indent="-285750">
              <a:buFont typeface="Arial" panose="020B0604020202020204" pitchFamily="34" charset="0"/>
              <a:buChar char="•"/>
            </a:pPr>
            <a:r>
              <a:rPr lang="fr-FR" sz="1400" dirty="0" err="1"/>
              <a:t>Quantity</a:t>
            </a:r>
            <a:r>
              <a:rPr lang="fr-FR" sz="1400" dirty="0"/>
              <a:t> : </a:t>
            </a:r>
            <a:r>
              <a:rPr lang="fr-FR" sz="1400" dirty="0" err="1"/>
              <a:t>consumed</a:t>
            </a:r>
            <a:r>
              <a:rPr lang="fr-FR" sz="1400" dirty="0"/>
              <a:t> </a:t>
            </a:r>
            <a:r>
              <a:rPr lang="fr-FR" sz="1400" dirty="0" err="1"/>
              <a:t>energy</a:t>
            </a:r>
            <a:r>
              <a:rPr lang="fr-FR" sz="1400" dirty="0"/>
              <a:t> (kWh)</a:t>
            </a:r>
          </a:p>
          <a:p>
            <a:pPr marL="285750" indent="-285750">
              <a:buFont typeface="Arial" panose="020B0604020202020204" pitchFamily="34" charset="0"/>
              <a:buChar char="•"/>
            </a:pPr>
            <a:r>
              <a:rPr lang="fr-FR" sz="1400" dirty="0"/>
              <a:t>Duration : session </a:t>
            </a:r>
            <a:r>
              <a:rPr lang="fr-FR" sz="1400" dirty="0" err="1"/>
              <a:t>whole</a:t>
            </a:r>
            <a:r>
              <a:rPr lang="fr-FR" sz="1400" dirty="0"/>
              <a:t> duration (not </a:t>
            </a:r>
            <a:r>
              <a:rPr lang="fr-FR" sz="1400" dirty="0" err="1"/>
              <a:t>just</a:t>
            </a:r>
            <a:r>
              <a:rPr lang="fr-FR" sz="1400" dirty="0"/>
              <a:t> </a:t>
            </a:r>
            <a:r>
              <a:rPr lang="fr-FR" sz="1400" dirty="0" err="1"/>
              <a:t>charging</a:t>
            </a:r>
            <a:r>
              <a:rPr lang="fr-FR" sz="1400" dirty="0"/>
              <a:t> time) (h)</a:t>
            </a:r>
          </a:p>
          <a:p>
            <a:pPr marL="285750" indent="-285750">
              <a:buFont typeface="Arial" panose="020B0604020202020204" pitchFamily="34" charset="0"/>
              <a:buChar char="•"/>
            </a:pPr>
            <a:r>
              <a:rPr lang="fr-FR" sz="1400" dirty="0"/>
              <a:t>Power : EVSE max power (kW)</a:t>
            </a:r>
          </a:p>
          <a:p>
            <a:pPr marL="285750" indent="-285750">
              <a:buFont typeface="Arial" panose="020B0604020202020204" pitchFamily="34" charset="0"/>
              <a:buChar char="•"/>
            </a:pPr>
            <a:r>
              <a:rPr lang="fr-FR" sz="1400" dirty="0" err="1"/>
              <a:t>Country_Code</a:t>
            </a:r>
            <a:r>
              <a:rPr lang="fr-FR" sz="1400" dirty="0"/>
              <a:t> : NL, FR, DE</a:t>
            </a:r>
          </a:p>
          <a:p>
            <a:pPr marL="285750" indent="-285750">
              <a:buFont typeface="Arial" panose="020B0604020202020204" pitchFamily="34" charset="0"/>
              <a:buChar char="•"/>
            </a:pPr>
            <a:r>
              <a:rPr lang="fr-FR" sz="1400" dirty="0" err="1"/>
              <a:t>Country_name</a:t>
            </a:r>
            <a:r>
              <a:rPr lang="fr-FR" sz="1400" dirty="0"/>
              <a:t>, </a:t>
            </a:r>
            <a:r>
              <a:rPr lang="fr-FR" sz="1400" dirty="0" err="1"/>
              <a:t>Zip_code</a:t>
            </a:r>
            <a:r>
              <a:rPr lang="fr-FR" sz="1400" dirty="0"/>
              <a:t>, latitude, longitude : spatial data about EVSE</a:t>
            </a:r>
          </a:p>
          <a:p>
            <a:pPr marL="285750" indent="-285750">
              <a:buFont typeface="Arial" panose="020B0604020202020204" pitchFamily="34" charset="0"/>
              <a:buChar char="•"/>
            </a:pPr>
            <a:r>
              <a:rPr lang="fr-FR" sz="1400" dirty="0"/>
              <a:t>Backend </a:t>
            </a:r>
            <a:r>
              <a:rPr lang="fr-FR" sz="1400" dirty="0" err="1"/>
              <a:t>operator</a:t>
            </a:r>
            <a:r>
              <a:rPr lang="fr-FR" sz="1400" dirty="0"/>
              <a:t> : Big </a:t>
            </a:r>
            <a:r>
              <a:rPr lang="fr-FR" sz="1400" dirty="0" err="1"/>
              <a:t>companies</a:t>
            </a:r>
            <a:r>
              <a:rPr lang="fr-FR" sz="1400" dirty="0"/>
              <a:t> </a:t>
            </a:r>
            <a:r>
              <a:rPr lang="fr-FR" sz="1400" dirty="0" err="1"/>
              <a:t>above</a:t>
            </a:r>
            <a:r>
              <a:rPr lang="fr-FR" sz="1400" dirty="0"/>
              <a:t> CPO to </a:t>
            </a:r>
            <a:r>
              <a:rPr lang="fr-FR" sz="1400" dirty="0" err="1"/>
              <a:t>operate</a:t>
            </a:r>
            <a:r>
              <a:rPr lang="fr-FR" sz="1400" dirty="0"/>
              <a:t> EVSE for Maintenance, </a:t>
            </a:r>
            <a:r>
              <a:rPr lang="fr-FR" sz="1400" dirty="0" err="1"/>
              <a:t>Repair</a:t>
            </a:r>
            <a:r>
              <a:rPr lang="fr-FR" sz="1400" dirty="0"/>
              <a:t> and </a:t>
            </a:r>
            <a:r>
              <a:rPr lang="fr-FR" sz="1400" dirty="0" err="1"/>
              <a:t>Overall</a:t>
            </a:r>
            <a:endParaRPr lang="fr-FR" sz="1400" dirty="0"/>
          </a:p>
          <a:p>
            <a:pPr marL="285750" indent="-285750">
              <a:buFont typeface="Arial" panose="020B0604020202020204" pitchFamily="34" charset="0"/>
              <a:buChar char="•"/>
            </a:pPr>
            <a:r>
              <a:rPr lang="fr-FR" sz="1400" dirty="0"/>
              <a:t>CPO : big </a:t>
            </a:r>
            <a:r>
              <a:rPr lang="fr-FR" sz="1400" dirty="0" err="1"/>
              <a:t>companies</a:t>
            </a:r>
            <a:r>
              <a:rPr lang="fr-FR" sz="1400" dirty="0"/>
              <a:t> or local </a:t>
            </a:r>
            <a:r>
              <a:rPr lang="fr-FR" sz="1400" dirty="0" err="1"/>
              <a:t>actors</a:t>
            </a:r>
            <a:r>
              <a:rPr lang="fr-FR" sz="1400" dirty="0"/>
              <a:t> </a:t>
            </a:r>
            <a:r>
              <a:rPr lang="fr-FR" sz="1400" dirty="0" err="1"/>
              <a:t>who</a:t>
            </a:r>
            <a:r>
              <a:rPr lang="fr-FR" sz="1400" dirty="0"/>
              <a:t> </a:t>
            </a:r>
            <a:r>
              <a:rPr lang="fr-FR" sz="1400" dirty="0" err="1"/>
              <a:t>owe</a:t>
            </a:r>
            <a:r>
              <a:rPr lang="fr-FR" sz="1400" dirty="0"/>
              <a:t> the brand </a:t>
            </a:r>
            <a:r>
              <a:rPr lang="fr-FR" sz="1400" dirty="0" err="1"/>
              <a:t>name</a:t>
            </a:r>
            <a:r>
              <a:rPr lang="fr-FR" sz="1400" dirty="0"/>
              <a:t> of the EVSE</a:t>
            </a:r>
          </a:p>
          <a:p>
            <a:pPr marL="285750" indent="-285750">
              <a:buFont typeface="Arial" panose="020B0604020202020204" pitchFamily="34" charset="0"/>
              <a:buChar char="•"/>
            </a:pPr>
            <a:r>
              <a:rPr lang="fr-FR" sz="1400" dirty="0" err="1"/>
              <a:t>CPO_connection</a:t>
            </a:r>
            <a:r>
              <a:rPr lang="fr-FR" sz="1400" dirty="0"/>
              <a:t> : type of </a:t>
            </a:r>
            <a:r>
              <a:rPr lang="fr-FR" sz="1400" dirty="0" err="1"/>
              <a:t>relationship</a:t>
            </a:r>
            <a:r>
              <a:rPr lang="fr-FR" sz="1400" dirty="0"/>
              <a:t> </a:t>
            </a:r>
            <a:r>
              <a:rPr lang="fr-FR" sz="1400" dirty="0" err="1"/>
              <a:t>between</a:t>
            </a:r>
            <a:r>
              <a:rPr lang="fr-FR" sz="1400" dirty="0"/>
              <a:t> </a:t>
            </a:r>
            <a:r>
              <a:rPr lang="fr-FR" sz="1400" dirty="0" err="1"/>
              <a:t>Bemo</a:t>
            </a:r>
            <a:r>
              <a:rPr lang="fr-FR" sz="1400" dirty="0"/>
              <a:t> and CPO (P2P or </a:t>
            </a:r>
            <a:r>
              <a:rPr lang="fr-FR" sz="1400" dirty="0" err="1"/>
              <a:t>roaming</a:t>
            </a:r>
            <a:r>
              <a:rPr lang="fr-FR" sz="1400" dirty="0"/>
              <a:t> if </a:t>
            </a:r>
            <a:r>
              <a:rPr lang="fr-FR" sz="1400" dirty="0" err="1"/>
              <a:t>using</a:t>
            </a:r>
            <a:r>
              <a:rPr lang="fr-FR" sz="1400" dirty="0"/>
              <a:t> </a:t>
            </a:r>
            <a:r>
              <a:rPr lang="fr-FR" sz="1400" dirty="0" err="1"/>
              <a:t>other</a:t>
            </a:r>
            <a:r>
              <a:rPr lang="fr-FR" sz="1400" dirty="0"/>
              <a:t> data </a:t>
            </a:r>
            <a:r>
              <a:rPr lang="fr-FR" sz="1400" dirty="0" err="1"/>
              <a:t>plateform</a:t>
            </a:r>
            <a:r>
              <a:rPr lang="fr-FR" sz="1400" dirty="0"/>
              <a:t> for </a:t>
            </a:r>
            <a:r>
              <a:rPr lang="fr-FR" sz="1400" dirty="0" err="1"/>
              <a:t>datalink</a:t>
            </a:r>
            <a:r>
              <a:rPr lang="fr-FR" sz="1400" dirty="0"/>
              <a:t>)</a:t>
            </a:r>
          </a:p>
          <a:p>
            <a:pPr marL="285750" indent="-285750">
              <a:buFont typeface="Arial" panose="020B0604020202020204" pitchFamily="34" charset="0"/>
              <a:buChar char="•"/>
            </a:pPr>
            <a:r>
              <a:rPr lang="fr-FR" sz="1400" dirty="0" err="1"/>
              <a:t>Transaction_Id</a:t>
            </a:r>
            <a:r>
              <a:rPr lang="fr-FR" sz="1400" dirty="0"/>
              <a:t> : </a:t>
            </a:r>
            <a:r>
              <a:rPr lang="fr-FR" sz="1400" dirty="0" err="1"/>
              <a:t>created</a:t>
            </a:r>
            <a:r>
              <a:rPr lang="fr-FR" sz="1400" dirty="0"/>
              <a:t> </a:t>
            </a:r>
            <a:r>
              <a:rPr lang="fr-FR" sz="1400" dirty="0" err="1"/>
              <a:t>feature</a:t>
            </a:r>
            <a:r>
              <a:rPr lang="fr-FR" sz="1400" dirty="0"/>
              <a:t> to </a:t>
            </a:r>
            <a:r>
              <a:rPr lang="fr-FR" sz="1400" dirty="0" err="1"/>
              <a:t>identify</a:t>
            </a:r>
            <a:r>
              <a:rPr lang="fr-FR" sz="1400" dirty="0"/>
              <a:t> </a:t>
            </a:r>
            <a:r>
              <a:rPr lang="fr-FR" sz="1400" dirty="0" err="1"/>
              <a:t>each</a:t>
            </a:r>
            <a:r>
              <a:rPr lang="fr-FR" sz="1400" dirty="0"/>
              <a:t> transaction</a:t>
            </a:r>
          </a:p>
          <a:p>
            <a:pPr marL="285750" indent="-285750">
              <a:buFont typeface="Arial" panose="020B0604020202020204" pitchFamily="34" charset="0"/>
              <a:buChar char="•"/>
            </a:pPr>
            <a:r>
              <a:rPr lang="fr-FR" sz="1400" dirty="0" err="1"/>
              <a:t>CPO_Id</a:t>
            </a:r>
            <a:r>
              <a:rPr lang="fr-FR" sz="1400" dirty="0"/>
              <a:t> : CPO code</a:t>
            </a:r>
          </a:p>
          <a:p>
            <a:pPr marL="285750" indent="-285750">
              <a:buFont typeface="Arial" panose="020B0604020202020204" pitchFamily="34" charset="0"/>
              <a:buChar char="•"/>
            </a:pPr>
            <a:r>
              <a:rPr lang="fr-FR" sz="1400" dirty="0" err="1"/>
              <a:t>EVSE_Id</a:t>
            </a:r>
            <a:r>
              <a:rPr lang="fr-FR" sz="1400" dirty="0"/>
              <a:t> : unique </a:t>
            </a:r>
            <a:r>
              <a:rPr lang="fr-FR" sz="1400" dirty="0" err="1"/>
              <a:t>reference</a:t>
            </a:r>
            <a:r>
              <a:rPr lang="fr-FR" sz="1400" dirty="0"/>
              <a:t> of </a:t>
            </a:r>
            <a:r>
              <a:rPr lang="fr-FR" sz="1400" dirty="0" err="1"/>
              <a:t>each</a:t>
            </a:r>
            <a:r>
              <a:rPr lang="fr-FR" sz="1400" dirty="0"/>
              <a:t> EVSE</a:t>
            </a:r>
          </a:p>
          <a:p>
            <a:pPr marL="285750" indent="-285750">
              <a:buFont typeface="Arial" panose="020B0604020202020204" pitchFamily="34" charset="0"/>
              <a:buChar char="•"/>
            </a:pPr>
            <a:r>
              <a:rPr lang="fr-FR" sz="1400" dirty="0" err="1"/>
              <a:t>Start_date</a:t>
            </a:r>
            <a:r>
              <a:rPr lang="fr-FR" sz="1400" dirty="0"/>
              <a:t>, </a:t>
            </a:r>
            <a:r>
              <a:rPr lang="fr-FR" sz="1400" dirty="0" err="1"/>
              <a:t>end_date</a:t>
            </a:r>
            <a:r>
              <a:rPr lang="fr-FR" sz="1400" dirty="0"/>
              <a:t>, </a:t>
            </a:r>
            <a:r>
              <a:rPr lang="fr-FR" sz="1400" dirty="0" err="1"/>
              <a:t>start_time</a:t>
            </a:r>
            <a:r>
              <a:rPr lang="fr-FR" sz="1400" dirty="0"/>
              <a:t>, </a:t>
            </a:r>
            <a:r>
              <a:rPr lang="fr-FR" sz="1400" dirty="0" err="1"/>
              <a:t>end_time</a:t>
            </a:r>
            <a:r>
              <a:rPr lang="fr-FR" sz="1400" dirty="0"/>
              <a:t> : temporal </a:t>
            </a:r>
            <a:r>
              <a:rPr lang="fr-FR" sz="1400" dirty="0" err="1"/>
              <a:t>features</a:t>
            </a:r>
            <a:r>
              <a:rPr lang="fr-FR" sz="1400" dirty="0"/>
              <a:t> about session (Y-m-d H:M:S and H.M)</a:t>
            </a:r>
          </a:p>
          <a:p>
            <a:pPr marL="285750" indent="-285750">
              <a:buFont typeface="Arial" panose="020B0604020202020204" pitchFamily="34" charset="0"/>
              <a:buChar char="•"/>
            </a:pPr>
            <a:r>
              <a:rPr lang="fr-FR" sz="1400" dirty="0" err="1"/>
              <a:t>MSP_segment</a:t>
            </a:r>
            <a:r>
              <a:rPr lang="fr-FR" sz="1400" dirty="0"/>
              <a:t> : type of </a:t>
            </a:r>
            <a:r>
              <a:rPr lang="fr-FR" sz="1400" dirty="0" err="1"/>
              <a:t>Bemo</a:t>
            </a:r>
            <a:r>
              <a:rPr lang="fr-FR" sz="1400" dirty="0"/>
              <a:t> </a:t>
            </a:r>
            <a:r>
              <a:rPr lang="fr-FR" sz="1400" dirty="0" err="1"/>
              <a:t>customers</a:t>
            </a:r>
            <a:r>
              <a:rPr lang="fr-FR" sz="1400" dirty="0"/>
              <a:t> / </a:t>
            </a:r>
            <a:r>
              <a:rPr lang="fr-FR" sz="1400" dirty="0" err="1"/>
              <a:t>Mobility</a:t>
            </a:r>
            <a:r>
              <a:rPr lang="fr-FR" sz="1400" dirty="0"/>
              <a:t> Service Provider</a:t>
            </a:r>
          </a:p>
          <a:p>
            <a:pPr marL="742950" lvl="1" indent="-285750">
              <a:buFont typeface="Arial" panose="020B0604020202020204" pitchFamily="34" charset="0"/>
              <a:buChar char="•"/>
            </a:pPr>
            <a:r>
              <a:rPr lang="fr-FR" sz="1400" dirty="0" err="1"/>
              <a:t>Mobility</a:t>
            </a:r>
            <a:r>
              <a:rPr lang="fr-FR" sz="1400" dirty="0"/>
              <a:t> as a service</a:t>
            </a:r>
          </a:p>
          <a:p>
            <a:pPr marL="742950" lvl="1" indent="-285750">
              <a:buFont typeface="Arial" panose="020B0604020202020204" pitchFamily="34" charset="0"/>
              <a:buChar char="•"/>
            </a:pPr>
            <a:r>
              <a:rPr lang="fr-FR" sz="1400" dirty="0"/>
              <a:t>Car </a:t>
            </a:r>
            <a:r>
              <a:rPr lang="fr-FR" sz="1400" dirty="0" err="1"/>
              <a:t>sharer</a:t>
            </a:r>
            <a:endParaRPr lang="fr-FR" sz="1400" dirty="0"/>
          </a:p>
          <a:p>
            <a:pPr marL="742950" lvl="1" indent="-285750">
              <a:buFont typeface="Arial" panose="020B0604020202020204" pitchFamily="34" charset="0"/>
              <a:buChar char="•"/>
            </a:pPr>
            <a:r>
              <a:rPr lang="fr-FR" sz="1400" dirty="0"/>
              <a:t>MSP of </a:t>
            </a:r>
            <a:r>
              <a:rPr lang="fr-FR" sz="1400" dirty="0" err="1"/>
              <a:t>TotalEnergies</a:t>
            </a:r>
            <a:endParaRPr lang="fr-FR" sz="1400" dirty="0"/>
          </a:p>
          <a:p>
            <a:pPr marL="285750" indent="-285750">
              <a:buFont typeface="Arial" panose="020B0604020202020204" pitchFamily="34" charset="0"/>
              <a:buChar char="•"/>
            </a:pPr>
            <a:endParaRPr lang="fr-FR" dirty="0">
              <a:ea typeface="Calibri" panose="020F0502020204030204" pitchFamily="34" charset="0"/>
            </a:endParaRPr>
          </a:p>
          <a:p>
            <a:pPr marL="285750" indent="-285750">
              <a:buFont typeface="Arial" panose="020B0604020202020204" pitchFamily="34" charset="0"/>
              <a:buChar char="•"/>
            </a:pPr>
            <a:endParaRPr lang="fr-FR" sz="1400" dirty="0"/>
          </a:p>
          <a:p>
            <a:pPr marL="285750" indent="-285750">
              <a:buFont typeface="Arial" panose="020B0604020202020204" pitchFamily="34" charset="0"/>
              <a:buChar char="•"/>
            </a:pPr>
            <a:endParaRPr lang="fr-FR" sz="1400" dirty="0"/>
          </a:p>
          <a:p>
            <a:pPr marL="285750" indent="-285750">
              <a:buFont typeface="Arial" panose="020B0604020202020204" pitchFamily="34" charset="0"/>
              <a:buChar char="•"/>
            </a:pPr>
            <a:endParaRPr lang="fr-FR" sz="1400" dirty="0"/>
          </a:p>
        </p:txBody>
      </p:sp>
      <p:sp>
        <p:nvSpPr>
          <p:cNvPr id="6" name="Espace réservé du numéro de diapositive 5">
            <a:extLst>
              <a:ext uri="{FF2B5EF4-FFF2-40B4-BE49-F238E27FC236}">
                <a16:creationId xmlns:a16="http://schemas.microsoft.com/office/drawing/2014/main" id="{EC9D517D-70A7-51E5-CA4E-DCE743F41F1A}"/>
              </a:ext>
            </a:extLst>
          </p:cNvPr>
          <p:cNvSpPr>
            <a:spLocks noGrp="1"/>
          </p:cNvSpPr>
          <p:nvPr>
            <p:ph type="sldNum" sz="quarter" idx="18"/>
          </p:nvPr>
        </p:nvSpPr>
        <p:spPr/>
        <p:txBody>
          <a:bodyPr/>
          <a:lstStyle/>
          <a:p>
            <a:fld id="{E9F690C6-F4CD-4FC2-95DF-E832AE3B8C23}" type="slidenum">
              <a:rPr lang="fr-FR" smtClean="0"/>
              <a:pPr/>
              <a:t>6</a:t>
            </a:fld>
            <a:endParaRPr lang="fr-FR"/>
          </a:p>
        </p:txBody>
      </p:sp>
    </p:spTree>
    <p:extLst>
      <p:ext uri="{BB962C8B-B14F-4D97-AF65-F5344CB8AC3E}">
        <p14:creationId xmlns:p14="http://schemas.microsoft.com/office/powerpoint/2010/main" val="38433869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A691175-E3FF-7DC1-B541-0E7FF0C4A2BF}"/>
              </a:ext>
            </a:extLst>
          </p:cNvPr>
          <p:cNvGraphicFramePr>
            <a:graphicFrameLocks noChangeAspect="1"/>
          </p:cNvGraphicFramePr>
          <p:nvPr>
            <p:custDataLst>
              <p:tags r:id="rId1"/>
            </p:custDataLst>
            <p:extLst>
              <p:ext uri="{D42A27DB-BD31-4B8C-83A1-F6EECF244321}">
                <p14:modId xmlns:p14="http://schemas.microsoft.com/office/powerpoint/2010/main" val="28534938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95" imgH="394" progId="TCLayout.ActiveDocument.1">
                  <p:embed/>
                </p:oleObj>
              </mc:Choice>
              <mc:Fallback>
                <p:oleObj name="Diapositive think-cell" r:id="rId3" imgW="395" imgH="394" progId="TCLayout.ActiveDocument.1">
                  <p:embed/>
                  <p:pic>
                    <p:nvPicPr>
                      <p:cNvPr id="5" name="think-cell data - do not delete" hidden="1">
                        <a:extLst>
                          <a:ext uri="{FF2B5EF4-FFF2-40B4-BE49-F238E27FC236}">
                            <a16:creationId xmlns:a16="http://schemas.microsoft.com/office/drawing/2014/main" id="{0A691175-E3FF-7DC1-B541-0E7FF0C4A2B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Espace réservé du texte 3">
            <a:extLst>
              <a:ext uri="{FF2B5EF4-FFF2-40B4-BE49-F238E27FC236}">
                <a16:creationId xmlns:a16="http://schemas.microsoft.com/office/drawing/2014/main" id="{430F12B2-8A30-D6A2-6AC7-ABAE7B02E283}"/>
              </a:ext>
            </a:extLst>
          </p:cNvPr>
          <p:cNvSpPr>
            <a:spLocks noGrp="1"/>
          </p:cNvSpPr>
          <p:nvPr>
            <p:ph type="body" sz="quarter" idx="16"/>
          </p:nvPr>
        </p:nvSpPr>
        <p:spPr>
          <a:xfrm>
            <a:off x="677891" y="1060186"/>
            <a:ext cx="11156825" cy="4531865"/>
          </a:xfrm>
        </p:spPr>
        <p:txBody>
          <a:bodyPr/>
          <a:lstStyle/>
          <a:p>
            <a:pPr marL="285750" indent="-285750">
              <a:buFont typeface="Arial" panose="020B0604020202020204" pitchFamily="34" charset="0"/>
              <a:buChar char="•"/>
            </a:pPr>
            <a:r>
              <a:rPr lang="fr-FR" sz="1400" dirty="0"/>
              <a:t>Power </a:t>
            </a:r>
            <a:r>
              <a:rPr lang="fr-FR" sz="1400" dirty="0" err="1"/>
              <a:t>category</a:t>
            </a:r>
            <a:r>
              <a:rPr lang="fr-FR" sz="1400" dirty="0"/>
              <a:t> (in-house </a:t>
            </a:r>
            <a:r>
              <a:rPr lang="fr-FR" sz="1400" dirty="0" err="1"/>
              <a:t>definition</a:t>
            </a:r>
            <a:r>
              <a:rPr lang="fr-FR" sz="1400" dirty="0"/>
              <a:t>) : </a:t>
            </a:r>
          </a:p>
          <a:p>
            <a:pPr marL="742950" lvl="1" indent="-285750">
              <a:buFont typeface="Arial" panose="020B0604020202020204" pitchFamily="34" charset="0"/>
              <a:buChar char="•"/>
            </a:pPr>
            <a:r>
              <a:rPr lang="fr-FR" sz="1400" dirty="0"/>
              <a:t>AC slow charge : AC type and power &lt; 40 kW</a:t>
            </a:r>
          </a:p>
          <a:p>
            <a:pPr marL="742950" lvl="1" indent="-285750">
              <a:buFont typeface="Arial" panose="020B0604020202020204" pitchFamily="34" charset="0"/>
              <a:buChar char="•"/>
            </a:pPr>
            <a:r>
              <a:rPr lang="fr-FR" sz="1400" dirty="0"/>
              <a:t>AC fast charge : AC type and power ≥ 40 kW</a:t>
            </a:r>
          </a:p>
          <a:p>
            <a:pPr marL="742950" lvl="1" indent="-285750">
              <a:buFont typeface="Arial" panose="020B0604020202020204" pitchFamily="34" charset="0"/>
              <a:buChar char="•"/>
            </a:pPr>
            <a:r>
              <a:rPr lang="fr-FR" sz="1400" dirty="0"/>
              <a:t>DC charge : DC type and power ≤ 50 kW</a:t>
            </a:r>
          </a:p>
          <a:p>
            <a:pPr marL="742950" lvl="1" indent="-285750">
              <a:buFont typeface="Arial" panose="020B0604020202020204" pitchFamily="34" charset="0"/>
              <a:buChar char="•"/>
            </a:pPr>
            <a:r>
              <a:rPr lang="fr-FR" sz="1400" dirty="0"/>
              <a:t>DC high power charge : DC type and power &gt; 50 kW</a:t>
            </a:r>
          </a:p>
          <a:p>
            <a:pPr marL="285750" indent="-285750">
              <a:buFont typeface="Arial" panose="020B0604020202020204" pitchFamily="34" charset="0"/>
              <a:buChar char="•"/>
            </a:pPr>
            <a:r>
              <a:rPr lang="fr-FR" sz="1400" dirty="0" err="1"/>
              <a:t>Transaction_Price_Bemo_Estimation</a:t>
            </a:r>
            <a:r>
              <a:rPr lang="fr-FR" sz="1400" dirty="0"/>
              <a:t> : B2B transaction </a:t>
            </a:r>
            <a:r>
              <a:rPr lang="fr-FR" sz="1400" dirty="0" err="1"/>
              <a:t>price</a:t>
            </a:r>
            <a:r>
              <a:rPr lang="fr-FR" sz="1400" dirty="0"/>
              <a:t> (€) </a:t>
            </a:r>
            <a:r>
              <a:rPr lang="fr-FR" sz="1400" dirty="0" err="1"/>
              <a:t>with</a:t>
            </a:r>
            <a:r>
              <a:rPr lang="fr-FR" sz="1400" dirty="0"/>
              <a:t> the CPO </a:t>
            </a:r>
            <a:r>
              <a:rPr lang="fr-FR" sz="1400" dirty="0" err="1"/>
              <a:t>estimated</a:t>
            </a:r>
            <a:r>
              <a:rPr lang="fr-FR" sz="1400" dirty="0"/>
              <a:t> by </a:t>
            </a:r>
            <a:r>
              <a:rPr lang="fr-FR" sz="1400" dirty="0" err="1"/>
              <a:t>Bemo</a:t>
            </a:r>
            <a:r>
              <a:rPr lang="fr-FR" sz="1400" dirty="0"/>
              <a:t> </a:t>
            </a:r>
            <a:r>
              <a:rPr lang="fr-FR" sz="1400" dirty="0" err="1"/>
              <a:t>using</a:t>
            </a:r>
            <a:r>
              <a:rPr lang="fr-FR" sz="1400" dirty="0"/>
              <a:t> V1 or V2 </a:t>
            </a:r>
            <a:r>
              <a:rPr lang="fr-FR" sz="1400" dirty="0" err="1"/>
              <a:t>pricer</a:t>
            </a:r>
            <a:r>
              <a:rPr lang="fr-FR" sz="1400" dirty="0"/>
              <a:t>. </a:t>
            </a:r>
            <a:r>
              <a:rPr lang="fr-FR" sz="1400" dirty="0" err="1"/>
              <a:t>Sum</a:t>
            </a:r>
            <a:r>
              <a:rPr lang="fr-FR" sz="1400" dirty="0"/>
              <a:t> of </a:t>
            </a:r>
            <a:r>
              <a:rPr lang="fr-FR" sz="1400" dirty="0" err="1"/>
              <a:t>these</a:t>
            </a:r>
            <a:r>
              <a:rPr lang="fr-FR" sz="1400" dirty="0"/>
              <a:t> four </a:t>
            </a:r>
            <a:r>
              <a:rPr lang="fr-FR" sz="1400" dirty="0" err="1"/>
              <a:t>parameters</a:t>
            </a:r>
            <a:r>
              <a:rPr lang="fr-FR" sz="1400" dirty="0"/>
              <a:t> (</a:t>
            </a:r>
            <a:r>
              <a:rPr lang="fr-FR" sz="1400" dirty="0" err="1"/>
              <a:t>available</a:t>
            </a:r>
            <a:r>
              <a:rPr lang="fr-FR" sz="1400" dirty="0"/>
              <a:t> </a:t>
            </a:r>
            <a:r>
              <a:rPr lang="fr-FR" sz="1400" dirty="0" err="1"/>
              <a:t>only</a:t>
            </a:r>
            <a:r>
              <a:rPr lang="fr-FR" sz="1400" dirty="0"/>
              <a:t> </a:t>
            </a:r>
            <a:r>
              <a:rPr lang="fr-FR" sz="1400" dirty="0" err="1"/>
              <a:t>with</a:t>
            </a:r>
            <a:r>
              <a:rPr lang="fr-FR" sz="1400" dirty="0"/>
              <a:t> V2 </a:t>
            </a:r>
            <a:r>
              <a:rPr lang="fr-FR" sz="1400" dirty="0" err="1"/>
              <a:t>pricer</a:t>
            </a:r>
            <a:r>
              <a:rPr lang="fr-FR" sz="1400" dirty="0"/>
              <a:t> version):</a:t>
            </a:r>
          </a:p>
          <a:p>
            <a:pPr marL="742950" lvl="1" indent="-285750">
              <a:buFont typeface="Arial" panose="020B0604020202020204" pitchFamily="34" charset="0"/>
              <a:buChar char="•"/>
            </a:pPr>
            <a:r>
              <a:rPr kumimoji="0" lang="fr-FR" altLang="fr-FR" sz="1400" b="0" i="0" u="none" strike="noStrike" cap="none" normalizeH="0" baseline="0" dirty="0" err="1">
                <a:ln>
                  <a:noFill/>
                </a:ln>
                <a:solidFill>
                  <a:schemeClr val="tx1"/>
                </a:solidFill>
                <a:effectLst/>
              </a:rPr>
              <a:t>Transaction_Price_Bemo_Flat_Component</a:t>
            </a:r>
            <a:r>
              <a:rPr kumimoji="0" lang="fr-FR" altLang="fr-FR" sz="1400" b="0" i="0" u="none" strike="noStrike" cap="none" normalizeH="0" baseline="0" dirty="0">
                <a:ln>
                  <a:noFill/>
                </a:ln>
                <a:solidFill>
                  <a:schemeClr val="tx1"/>
                </a:solidFill>
                <a:effectLst/>
              </a:rPr>
              <a:t> : </a:t>
            </a:r>
            <a:r>
              <a:rPr kumimoji="0" lang="fr-FR" altLang="fr-FR" sz="1400" b="0" i="0" u="none" strike="noStrike" cap="none" normalizeH="0" baseline="0" dirty="0" err="1">
                <a:ln>
                  <a:noFill/>
                </a:ln>
                <a:solidFill>
                  <a:schemeClr val="tx1"/>
                </a:solidFill>
                <a:effectLst/>
              </a:rPr>
              <a:t>fixed</a:t>
            </a:r>
            <a:r>
              <a:rPr kumimoji="0" lang="fr-FR" altLang="fr-FR" sz="1400" b="0" i="0" u="none" strike="noStrike" cap="none" normalizeH="0" baseline="0" dirty="0">
                <a:ln>
                  <a:noFill/>
                </a:ln>
                <a:solidFill>
                  <a:schemeClr val="tx1"/>
                </a:solidFill>
                <a:effectLst/>
              </a:rPr>
              <a:t> </a:t>
            </a:r>
            <a:r>
              <a:rPr kumimoji="0" lang="fr-FR" altLang="fr-FR" sz="1400" b="0" i="0" u="none" strike="noStrike" cap="none" normalizeH="0" baseline="0" dirty="0" err="1">
                <a:ln>
                  <a:noFill/>
                </a:ln>
                <a:solidFill>
                  <a:schemeClr val="tx1"/>
                </a:solidFill>
                <a:effectLst/>
              </a:rPr>
              <a:t>price</a:t>
            </a:r>
            <a:r>
              <a:rPr kumimoji="0" lang="fr-FR" altLang="fr-FR" sz="1400" b="0" i="0" u="none" strike="noStrike" cap="none" normalizeH="0" baseline="0" dirty="0">
                <a:ln>
                  <a:noFill/>
                </a:ln>
                <a:solidFill>
                  <a:schemeClr val="tx1"/>
                </a:solidFill>
                <a:effectLst/>
              </a:rPr>
              <a:t> once the session </a:t>
            </a:r>
            <a:r>
              <a:rPr kumimoji="0" lang="fr-FR" altLang="fr-FR" sz="1400" b="0" i="0" u="none" strike="noStrike" cap="none" normalizeH="0" baseline="0" dirty="0" err="1">
                <a:ln>
                  <a:noFill/>
                </a:ln>
                <a:solidFill>
                  <a:schemeClr val="tx1"/>
                </a:solidFill>
                <a:effectLst/>
              </a:rPr>
              <a:t>begins</a:t>
            </a:r>
            <a:endParaRPr lang="fr-FR" sz="1400" dirty="0"/>
          </a:p>
          <a:p>
            <a:pPr marL="742950" lvl="1" indent="-285750">
              <a:buFont typeface="Arial" panose="020B0604020202020204" pitchFamily="34" charset="0"/>
              <a:buChar char="•"/>
            </a:pPr>
            <a:r>
              <a:rPr lang="fr-FR" sz="1400" dirty="0" err="1"/>
              <a:t>Transaction_Price_Bemo_Energy_Component</a:t>
            </a:r>
            <a:r>
              <a:rPr lang="fr-FR" sz="1400" dirty="0"/>
              <a:t> : </a:t>
            </a:r>
            <a:r>
              <a:rPr lang="fr-FR" sz="1400" dirty="0" err="1"/>
              <a:t>price</a:t>
            </a:r>
            <a:r>
              <a:rPr lang="fr-FR" sz="1400" dirty="0"/>
              <a:t> </a:t>
            </a:r>
            <a:r>
              <a:rPr lang="fr-FR" sz="1400" dirty="0" err="1"/>
              <a:t>function</a:t>
            </a:r>
            <a:r>
              <a:rPr lang="fr-FR" sz="1400" dirty="0"/>
              <a:t> of </a:t>
            </a:r>
            <a:r>
              <a:rPr lang="fr-FR" sz="1400" dirty="0" err="1"/>
              <a:t>consumed</a:t>
            </a:r>
            <a:r>
              <a:rPr lang="fr-FR" sz="1400" dirty="0"/>
              <a:t> </a:t>
            </a:r>
            <a:r>
              <a:rPr lang="fr-FR" sz="1400" dirty="0" err="1"/>
              <a:t>energy</a:t>
            </a:r>
            <a:endParaRPr lang="fr-FR" sz="1400" dirty="0"/>
          </a:p>
          <a:p>
            <a:pPr marL="742950" lvl="1" indent="-285750">
              <a:buFont typeface="Arial" panose="020B0604020202020204" pitchFamily="34" charset="0"/>
              <a:buChar char="•"/>
            </a:pPr>
            <a:r>
              <a:rPr lang="fr-FR" altLang="fr-FR" sz="1400" dirty="0" err="1"/>
              <a:t>Transaction_Price_Bemo_Time_Component</a:t>
            </a:r>
            <a:r>
              <a:rPr lang="fr-FR" altLang="fr-FR" sz="1400" dirty="0"/>
              <a:t> : </a:t>
            </a:r>
            <a:r>
              <a:rPr lang="fr-FR" altLang="fr-FR" sz="1400" dirty="0" err="1"/>
              <a:t>price</a:t>
            </a:r>
            <a:r>
              <a:rPr lang="fr-FR" altLang="fr-FR" sz="1400" dirty="0"/>
              <a:t> </a:t>
            </a:r>
            <a:r>
              <a:rPr lang="fr-FR" altLang="fr-FR" sz="1400" dirty="0" err="1"/>
              <a:t>function</a:t>
            </a:r>
            <a:r>
              <a:rPr lang="fr-FR" altLang="fr-FR" sz="1400" dirty="0"/>
              <a:t> of </a:t>
            </a:r>
            <a:r>
              <a:rPr lang="fr-FR" altLang="fr-FR" sz="1400" dirty="0" err="1"/>
              <a:t>elapsed</a:t>
            </a:r>
            <a:r>
              <a:rPr lang="fr-FR" altLang="fr-FR" sz="1400" dirty="0"/>
              <a:t> time </a:t>
            </a:r>
            <a:r>
              <a:rPr lang="fr-FR" altLang="fr-FR" sz="1400" dirty="0" err="1"/>
              <a:t>while</a:t>
            </a:r>
            <a:r>
              <a:rPr lang="fr-FR" altLang="fr-FR" sz="1400" dirty="0"/>
              <a:t> </a:t>
            </a:r>
            <a:r>
              <a:rPr lang="fr-FR" altLang="fr-FR" sz="1400" dirty="0" err="1"/>
              <a:t>charging</a:t>
            </a:r>
            <a:endParaRPr lang="fr-FR" sz="1400" dirty="0"/>
          </a:p>
          <a:p>
            <a:pPr marL="742950" lvl="1" indent="-285750">
              <a:buFont typeface="Arial" panose="020B0604020202020204" pitchFamily="34" charset="0"/>
              <a:buChar char="•"/>
            </a:pPr>
            <a:r>
              <a:rPr kumimoji="0" lang="fr-FR" altLang="fr-FR" sz="1400" b="0" i="0" u="none" strike="noStrike" cap="none" normalizeH="0" baseline="0" dirty="0" err="1">
                <a:ln>
                  <a:noFill/>
                </a:ln>
                <a:solidFill>
                  <a:schemeClr val="tx1"/>
                </a:solidFill>
                <a:effectLst/>
              </a:rPr>
              <a:t>Transaction_Price_Bemo_ParkingTime_Component</a:t>
            </a:r>
            <a:r>
              <a:rPr kumimoji="0" lang="fr-FR" altLang="fr-FR" sz="1400" b="0" i="0" u="none" strike="noStrike" cap="none" normalizeH="0" baseline="0" dirty="0">
                <a:ln>
                  <a:noFill/>
                </a:ln>
                <a:solidFill>
                  <a:schemeClr val="tx1"/>
                </a:solidFill>
                <a:effectLst/>
              </a:rPr>
              <a:t> : </a:t>
            </a:r>
            <a:r>
              <a:rPr kumimoji="0" lang="fr-FR" altLang="fr-FR" sz="1400" b="0" i="0" u="none" strike="noStrike" cap="none" normalizeH="0" baseline="0" dirty="0" err="1">
                <a:ln>
                  <a:noFill/>
                </a:ln>
                <a:solidFill>
                  <a:schemeClr val="tx1"/>
                </a:solidFill>
                <a:effectLst/>
              </a:rPr>
              <a:t>price</a:t>
            </a:r>
            <a:r>
              <a:rPr kumimoji="0" lang="fr-FR" altLang="fr-FR" sz="1400" b="0" i="0" u="none" strike="noStrike" cap="none" normalizeH="0" baseline="0" dirty="0">
                <a:ln>
                  <a:noFill/>
                </a:ln>
                <a:solidFill>
                  <a:schemeClr val="tx1"/>
                </a:solidFill>
                <a:effectLst/>
              </a:rPr>
              <a:t> </a:t>
            </a:r>
            <a:r>
              <a:rPr kumimoji="0" lang="fr-FR" altLang="fr-FR" sz="1400" b="0" i="0" u="none" strike="noStrike" cap="none" normalizeH="0" baseline="0" dirty="0" err="1">
                <a:ln>
                  <a:noFill/>
                </a:ln>
                <a:solidFill>
                  <a:schemeClr val="tx1"/>
                </a:solidFill>
                <a:effectLst/>
              </a:rPr>
              <a:t>function</a:t>
            </a:r>
            <a:r>
              <a:rPr kumimoji="0" lang="fr-FR" altLang="fr-FR" sz="1400" b="0" i="0" u="none" strike="noStrike" cap="none" normalizeH="0" baseline="0" dirty="0">
                <a:ln>
                  <a:noFill/>
                </a:ln>
                <a:solidFill>
                  <a:schemeClr val="tx1"/>
                </a:solidFill>
                <a:effectLst/>
              </a:rPr>
              <a:t> of </a:t>
            </a:r>
            <a:r>
              <a:rPr kumimoji="0" lang="fr-FR" altLang="fr-FR" sz="1400" b="0" i="0" u="none" strike="noStrike" cap="none" normalizeH="0" baseline="0" dirty="0" err="1">
                <a:ln>
                  <a:noFill/>
                </a:ln>
                <a:solidFill>
                  <a:schemeClr val="tx1"/>
                </a:solidFill>
                <a:effectLst/>
              </a:rPr>
              <a:t>elapsed</a:t>
            </a:r>
            <a:r>
              <a:rPr kumimoji="0" lang="fr-FR" altLang="fr-FR" sz="1400" b="0" i="0" u="none" strike="noStrike" cap="none" normalizeH="0" baseline="0" dirty="0">
                <a:ln>
                  <a:noFill/>
                </a:ln>
                <a:solidFill>
                  <a:schemeClr val="tx1"/>
                </a:solidFill>
                <a:effectLst/>
              </a:rPr>
              <a:t> time </a:t>
            </a:r>
            <a:r>
              <a:rPr kumimoji="0" lang="fr-FR" altLang="fr-FR" sz="1400" b="0" i="0" u="none" strike="noStrike" cap="none" normalizeH="0" baseline="0" dirty="0" err="1">
                <a:ln>
                  <a:noFill/>
                </a:ln>
                <a:solidFill>
                  <a:schemeClr val="tx1"/>
                </a:solidFill>
                <a:effectLst/>
              </a:rPr>
              <a:t>while</a:t>
            </a:r>
            <a:r>
              <a:rPr kumimoji="0" lang="fr-FR" altLang="fr-FR" sz="1400" b="0" i="0" u="none" strike="noStrike" cap="none" normalizeH="0" baseline="0" dirty="0">
                <a:ln>
                  <a:noFill/>
                </a:ln>
                <a:solidFill>
                  <a:schemeClr val="tx1"/>
                </a:solidFill>
                <a:effectLst/>
              </a:rPr>
              <a:t> not </a:t>
            </a:r>
            <a:r>
              <a:rPr kumimoji="0" lang="fr-FR" altLang="fr-FR" sz="1400" b="0" i="0" u="none" strike="noStrike" cap="none" normalizeH="0" baseline="0" dirty="0" err="1">
                <a:ln>
                  <a:noFill/>
                </a:ln>
                <a:solidFill>
                  <a:schemeClr val="tx1"/>
                </a:solidFill>
                <a:effectLst/>
              </a:rPr>
              <a:t>charging</a:t>
            </a:r>
            <a:endParaRPr kumimoji="0" lang="fr-FR" altLang="fr-FR" sz="1400" b="0" i="0" u="none" strike="noStrike" cap="none" normalizeH="0" baseline="0" dirty="0">
              <a:ln>
                <a:noFill/>
              </a:ln>
              <a:solidFill>
                <a:schemeClr val="tx1"/>
              </a:solidFill>
              <a:effectLst/>
            </a:endParaRPr>
          </a:p>
          <a:p>
            <a:pPr marL="285750" indent="-285750">
              <a:buFont typeface="Arial" panose="020B0604020202020204" pitchFamily="34" charset="0"/>
              <a:buChar char="•"/>
            </a:pPr>
            <a:r>
              <a:rPr lang="fr-FR" altLang="fr-FR" sz="1400" dirty="0" err="1"/>
              <a:t>Transaction_Price</a:t>
            </a:r>
            <a:r>
              <a:rPr lang="fr-FR" altLang="fr-FR" sz="1400" dirty="0"/>
              <a:t> : final </a:t>
            </a:r>
            <a:r>
              <a:rPr lang="fr-FR" altLang="fr-FR" sz="1400" dirty="0" err="1"/>
              <a:t>price</a:t>
            </a:r>
            <a:r>
              <a:rPr lang="fr-FR" altLang="fr-FR" sz="1400" dirty="0"/>
              <a:t> (€) </a:t>
            </a:r>
            <a:r>
              <a:rPr lang="fr-FR" altLang="fr-FR" sz="1400" dirty="0" err="1"/>
              <a:t>charged</a:t>
            </a:r>
            <a:r>
              <a:rPr lang="fr-FR" altLang="fr-FR" sz="1400" dirty="0"/>
              <a:t> by the CPO at the end of a session. It </a:t>
            </a:r>
            <a:r>
              <a:rPr lang="fr-FR" altLang="fr-FR" sz="1400" dirty="0" err="1"/>
              <a:t>is</a:t>
            </a:r>
            <a:r>
              <a:rPr lang="fr-FR" altLang="fr-FR" sz="1400" dirty="0"/>
              <a:t> a B2B </a:t>
            </a:r>
            <a:r>
              <a:rPr lang="fr-FR" altLang="fr-FR" sz="1400" dirty="0" err="1"/>
              <a:t>price</a:t>
            </a:r>
            <a:r>
              <a:rPr lang="fr-FR" altLang="fr-FR" sz="1400" dirty="0"/>
              <a:t> </a:t>
            </a:r>
            <a:r>
              <a:rPr lang="fr-FR" altLang="fr-FR" sz="1400" dirty="0" err="1"/>
              <a:t>excluding</a:t>
            </a:r>
            <a:r>
              <a:rPr lang="fr-FR" altLang="fr-FR" sz="1400" dirty="0"/>
              <a:t> VAT and </a:t>
            </a:r>
            <a:r>
              <a:rPr lang="fr-FR" altLang="fr-FR" sz="1400" dirty="0" err="1"/>
              <a:t>without</a:t>
            </a:r>
            <a:r>
              <a:rPr lang="fr-FR" altLang="fr-FR" sz="1400" dirty="0"/>
              <a:t> CPO mark-up.</a:t>
            </a:r>
          </a:p>
          <a:p>
            <a:pPr marL="285750" indent="-285750">
              <a:buFont typeface="Arial" panose="020B0604020202020204" pitchFamily="34" charset="0"/>
              <a:buChar char="•"/>
            </a:pPr>
            <a:r>
              <a:rPr kumimoji="0" lang="fr-FR" altLang="fr-FR" sz="1400" b="0" i="0" u="none" strike="noStrike" cap="none" normalizeH="0" baseline="0" dirty="0" err="1">
                <a:ln>
                  <a:noFill/>
                </a:ln>
                <a:solidFill>
                  <a:schemeClr val="tx1"/>
                </a:solidFill>
                <a:effectLst/>
              </a:rPr>
              <a:t>Delta_price</a:t>
            </a:r>
            <a:r>
              <a:rPr kumimoji="0" lang="fr-FR" altLang="fr-FR" sz="1400" b="0" i="0" u="none" strike="noStrike" cap="none" normalizeH="0" baseline="0" dirty="0">
                <a:ln>
                  <a:noFill/>
                </a:ln>
                <a:solidFill>
                  <a:schemeClr val="tx1"/>
                </a:solidFill>
                <a:effectLst/>
              </a:rPr>
              <a:t> : </a:t>
            </a:r>
            <a:r>
              <a:rPr lang="fr-FR" altLang="fr-FR" sz="1400" dirty="0" err="1"/>
              <a:t>Transaction_Price</a:t>
            </a:r>
            <a:r>
              <a:rPr lang="fr-FR" altLang="fr-FR" sz="1400" dirty="0"/>
              <a:t> - </a:t>
            </a:r>
            <a:r>
              <a:rPr lang="fr-FR" sz="1400" dirty="0" err="1"/>
              <a:t>Transaction_Price_Bemo_Estimation</a:t>
            </a:r>
            <a:r>
              <a:rPr lang="fr-FR" sz="1400" dirty="0"/>
              <a:t> (€)</a:t>
            </a:r>
          </a:p>
          <a:p>
            <a:pPr marL="285750" indent="-285750">
              <a:buFont typeface="Arial" panose="020B0604020202020204" pitchFamily="34" charset="0"/>
              <a:buChar char="•"/>
            </a:pPr>
            <a:r>
              <a:rPr kumimoji="0" lang="fr-FR" altLang="fr-FR" sz="1400" b="1" i="0" u="none" strike="noStrike" cap="none" normalizeH="0" baseline="0" dirty="0" err="1">
                <a:ln>
                  <a:noFill/>
                </a:ln>
                <a:solidFill>
                  <a:srgbClr val="FF0000"/>
                </a:solidFill>
                <a:effectLst/>
              </a:rPr>
              <a:t>Main_stat_all</a:t>
            </a:r>
            <a:r>
              <a:rPr kumimoji="0" lang="fr-FR" altLang="fr-FR" sz="1400" b="1" i="0" u="none" strike="noStrike" cap="none" normalizeH="0" baseline="0" dirty="0">
                <a:ln>
                  <a:noFill/>
                </a:ln>
                <a:solidFill>
                  <a:srgbClr val="FF0000"/>
                </a:solidFill>
                <a:effectLst/>
              </a:rPr>
              <a:t> : 1 if the session </a:t>
            </a:r>
            <a:r>
              <a:rPr kumimoji="0" lang="fr-FR" altLang="fr-FR" sz="1400" b="1" i="0" u="none" strike="noStrike" cap="none" normalizeH="0" baseline="0" dirty="0" err="1">
                <a:ln>
                  <a:noFill/>
                </a:ln>
                <a:solidFill>
                  <a:srgbClr val="FF0000"/>
                </a:solidFill>
                <a:effectLst/>
              </a:rPr>
              <a:t>is</a:t>
            </a:r>
            <a:r>
              <a:rPr kumimoji="0" lang="fr-FR" altLang="fr-FR" sz="1400" b="1" i="0" u="none" strike="noStrike" cap="none" normalizeH="0" baseline="0" dirty="0">
                <a:ln>
                  <a:noFill/>
                </a:ln>
                <a:solidFill>
                  <a:srgbClr val="FF0000"/>
                </a:solidFill>
                <a:effectLst/>
              </a:rPr>
              <a:t> </a:t>
            </a:r>
            <a:r>
              <a:rPr lang="fr-FR" altLang="fr-FR" sz="1400" b="1" dirty="0" err="1">
                <a:solidFill>
                  <a:srgbClr val="FF0000"/>
                </a:solidFill>
              </a:rPr>
              <a:t>considered</a:t>
            </a:r>
            <a:r>
              <a:rPr lang="fr-FR" altLang="fr-FR" sz="1400" b="1" dirty="0">
                <a:solidFill>
                  <a:srgbClr val="FF0000"/>
                </a:solidFill>
              </a:rPr>
              <a:t> as </a:t>
            </a:r>
            <a:r>
              <a:rPr lang="fr-FR" altLang="fr-FR" sz="1400" b="1" dirty="0" err="1">
                <a:solidFill>
                  <a:srgbClr val="FF0000"/>
                </a:solidFill>
              </a:rPr>
              <a:t>physicilally</a:t>
            </a:r>
            <a:r>
              <a:rPr lang="fr-FR" altLang="fr-FR" sz="1400" b="1" dirty="0">
                <a:solidFill>
                  <a:srgbClr val="FF0000"/>
                </a:solidFill>
              </a:rPr>
              <a:t> </a:t>
            </a:r>
            <a:r>
              <a:rPr lang="fr-FR" altLang="fr-FR" sz="1400" b="1" dirty="0" err="1">
                <a:solidFill>
                  <a:srgbClr val="FF0000"/>
                </a:solidFill>
              </a:rPr>
              <a:t>realistic</a:t>
            </a:r>
            <a:r>
              <a:rPr lang="fr-FR" altLang="fr-FR" sz="1400" b="1" dirty="0">
                <a:solidFill>
                  <a:srgbClr val="FF0000"/>
                </a:solidFill>
              </a:rPr>
              <a:t> and 0 </a:t>
            </a:r>
            <a:r>
              <a:rPr lang="fr-FR" altLang="fr-FR" sz="1400" b="1" dirty="0" err="1">
                <a:solidFill>
                  <a:srgbClr val="FF0000"/>
                </a:solidFill>
              </a:rPr>
              <a:t>otherwise</a:t>
            </a:r>
            <a:r>
              <a:rPr lang="fr-FR" altLang="fr-FR" sz="1400" b="1" dirty="0">
                <a:solidFill>
                  <a:srgbClr val="FF0000"/>
                </a:solidFill>
              </a:rPr>
              <a:t> (</a:t>
            </a:r>
            <a:r>
              <a:rPr lang="fr-FR" altLang="fr-FR" sz="1400" b="1" dirty="0" err="1">
                <a:solidFill>
                  <a:srgbClr val="FF0000"/>
                </a:solidFill>
              </a:rPr>
              <a:t>whether</a:t>
            </a:r>
            <a:r>
              <a:rPr lang="fr-FR" altLang="fr-FR" sz="1400" b="1" dirty="0">
                <a:solidFill>
                  <a:srgbClr val="FF0000"/>
                </a:solidFill>
              </a:rPr>
              <a:t> short or long sessions).</a:t>
            </a:r>
            <a:endParaRPr kumimoji="0" lang="fr-FR" altLang="fr-FR" sz="1400" b="1" i="0" u="none" strike="noStrike" cap="none" normalizeH="0" baseline="0" dirty="0">
              <a:ln>
                <a:noFill/>
              </a:ln>
              <a:solidFill>
                <a:srgbClr val="FF0000"/>
              </a:solidFill>
              <a:effectLst/>
            </a:endParaRPr>
          </a:p>
          <a:p>
            <a:pPr marL="742950" lvl="1" indent="-285750">
              <a:buFont typeface="Arial" panose="020B0604020202020204" pitchFamily="34" charset="0"/>
              <a:buChar char="•"/>
            </a:pPr>
            <a:endParaRPr kumimoji="0" lang="fr-FR" altLang="fr-FR" sz="1400" b="0" i="0" u="none" strike="noStrike" cap="none" normalizeH="0" baseline="0" dirty="0">
              <a:ln>
                <a:noFill/>
              </a:ln>
              <a:solidFill>
                <a:schemeClr val="tx1"/>
              </a:solidFill>
              <a:effectLst/>
            </a:endParaRPr>
          </a:p>
          <a:p>
            <a:pPr marL="285750" indent="-285750">
              <a:buFont typeface="Arial" panose="020B0604020202020204" pitchFamily="34" charset="0"/>
              <a:buChar char="•"/>
            </a:pPr>
            <a:r>
              <a:rPr lang="fr-FR" sz="1400" b="1" dirty="0">
                <a:solidFill>
                  <a:srgbClr val="FF0000"/>
                </a:solidFill>
              </a:rPr>
              <a:t>IMPORTANT NOTE : </a:t>
            </a:r>
            <a:r>
              <a:rPr lang="fr-FR" sz="1400" b="1" dirty="0">
                <a:solidFill>
                  <a:srgbClr val="FF0000"/>
                </a:solidFill>
                <a:latin typeface="Roboto" panose="02000000000000000000" pitchFamily="2" charset="0"/>
                <a:ea typeface="Roboto" panose="02000000000000000000" pitchFamily="2" charset="0"/>
              </a:rPr>
              <a:t>The </a:t>
            </a:r>
            <a:r>
              <a:rPr lang="fr-FR" sz="1400" b="1" dirty="0" err="1">
                <a:solidFill>
                  <a:srgbClr val="FF0000"/>
                </a:solidFill>
              </a:rPr>
              <a:t>feature</a:t>
            </a:r>
            <a:r>
              <a:rPr lang="fr-FR" sz="1400" b="1" dirty="0">
                <a:solidFill>
                  <a:srgbClr val="FF0000"/>
                </a:solidFill>
              </a:rPr>
              <a:t> </a:t>
            </a:r>
            <a:r>
              <a:rPr lang="fr-FR" sz="1400" b="1" dirty="0">
                <a:solidFill>
                  <a:srgbClr val="FF0000"/>
                </a:solidFill>
                <a:latin typeface="Roboto" panose="02000000000000000000" pitchFamily="2" charset="0"/>
                <a:ea typeface="Roboto" panose="02000000000000000000" pitchFamily="2" charset="0"/>
              </a:rPr>
              <a:t>‘</a:t>
            </a:r>
            <a:r>
              <a:rPr lang="fr-FR" sz="1400" b="1" dirty="0" err="1">
                <a:solidFill>
                  <a:srgbClr val="FF0000"/>
                </a:solidFill>
                <a:latin typeface="Roboto" panose="02000000000000000000" pitchFamily="2" charset="0"/>
                <a:ea typeface="Roboto" panose="02000000000000000000" pitchFamily="2" charset="0"/>
              </a:rPr>
              <a:t>Transaction_Price</a:t>
            </a:r>
            <a:r>
              <a:rPr lang="fr-FR" sz="1400" b="1" dirty="0">
                <a:solidFill>
                  <a:srgbClr val="FF0000"/>
                </a:solidFill>
                <a:latin typeface="Roboto" panose="02000000000000000000" pitchFamily="2" charset="0"/>
                <a:ea typeface="Roboto" panose="02000000000000000000" pitchFamily="2" charset="0"/>
              </a:rPr>
              <a:t>’ </a:t>
            </a:r>
            <a:r>
              <a:rPr lang="fr-FR" sz="1400" b="1" dirty="0" err="1">
                <a:solidFill>
                  <a:srgbClr val="FF0000"/>
                </a:solidFill>
                <a:latin typeface="Roboto" panose="02000000000000000000" pitchFamily="2" charset="0"/>
                <a:ea typeface="Roboto" panose="02000000000000000000" pitchFamily="2" charset="0"/>
              </a:rPr>
              <a:t>handles</a:t>
            </a:r>
            <a:r>
              <a:rPr lang="fr-FR" sz="1400" b="1" dirty="0">
                <a:solidFill>
                  <a:srgbClr val="FF0000"/>
                </a:solidFill>
                <a:latin typeface="Roboto" panose="02000000000000000000" pitchFamily="2" charset="0"/>
                <a:ea typeface="Roboto" panose="02000000000000000000" pitchFamily="2" charset="0"/>
              </a:rPr>
              <a:t> </a:t>
            </a:r>
            <a:r>
              <a:rPr lang="fr-FR" sz="1400" b="1" dirty="0" err="1">
                <a:solidFill>
                  <a:srgbClr val="FF0000"/>
                </a:solidFill>
                <a:latin typeface="Roboto" panose="02000000000000000000" pitchFamily="2" charset="0"/>
                <a:ea typeface="Roboto" panose="02000000000000000000" pitchFamily="2" charset="0"/>
              </a:rPr>
              <a:t>with</a:t>
            </a:r>
            <a:r>
              <a:rPr lang="fr-FR" sz="1400" b="1" dirty="0">
                <a:solidFill>
                  <a:srgbClr val="FF0000"/>
                </a:solidFill>
                <a:latin typeface="Roboto" panose="02000000000000000000" pitchFamily="2" charset="0"/>
                <a:ea typeface="Roboto" panose="02000000000000000000" pitchFamily="2" charset="0"/>
              </a:rPr>
              <a:t> B2B </a:t>
            </a:r>
            <a:r>
              <a:rPr lang="fr-FR" sz="1400" b="1" dirty="0" err="1">
                <a:solidFill>
                  <a:srgbClr val="FF0000"/>
                </a:solidFill>
                <a:latin typeface="Roboto" panose="02000000000000000000" pitchFamily="2" charset="0"/>
                <a:ea typeface="Roboto" panose="02000000000000000000" pitchFamily="2" charset="0"/>
              </a:rPr>
              <a:t>price</a:t>
            </a:r>
            <a:r>
              <a:rPr lang="fr-FR" sz="1400" b="1" dirty="0">
                <a:solidFill>
                  <a:srgbClr val="FF0000"/>
                </a:solidFill>
                <a:latin typeface="Roboto" panose="02000000000000000000" pitchFamily="2" charset="0"/>
                <a:ea typeface="Roboto" panose="02000000000000000000" pitchFamily="2" charset="0"/>
              </a:rPr>
              <a:t> for </a:t>
            </a:r>
            <a:r>
              <a:rPr lang="fr-FR" sz="1400" b="1" dirty="0" err="1">
                <a:solidFill>
                  <a:srgbClr val="FF0000"/>
                </a:solidFill>
                <a:latin typeface="Roboto" panose="02000000000000000000" pitchFamily="2" charset="0"/>
                <a:ea typeface="Roboto" panose="02000000000000000000" pitchFamily="2" charset="0"/>
              </a:rPr>
              <a:t>electricity</a:t>
            </a:r>
            <a:r>
              <a:rPr lang="fr-FR" sz="1400" b="1" dirty="0">
                <a:solidFill>
                  <a:srgbClr val="FF0000"/>
                </a:solidFill>
                <a:latin typeface="Roboto" panose="02000000000000000000" pitchFamily="2" charset="0"/>
                <a:ea typeface="Roboto" panose="02000000000000000000" pitchFamily="2" charset="0"/>
              </a:rPr>
              <a:t> </a:t>
            </a:r>
            <a:r>
              <a:rPr lang="fr-FR" sz="1400" b="1" dirty="0" err="1">
                <a:solidFill>
                  <a:srgbClr val="FF0000"/>
                </a:solidFill>
                <a:latin typeface="Roboto" panose="02000000000000000000" pitchFamily="2" charset="0"/>
                <a:ea typeface="Roboto" panose="02000000000000000000" pitchFamily="2" charset="0"/>
              </a:rPr>
              <a:t>amount</a:t>
            </a:r>
            <a:r>
              <a:rPr lang="fr-FR" sz="1400" b="1" dirty="0">
                <a:solidFill>
                  <a:srgbClr val="FF0000"/>
                </a:solidFill>
                <a:latin typeface="Roboto" panose="02000000000000000000" pitchFamily="2" charset="0"/>
                <a:ea typeface="Roboto" panose="02000000000000000000" pitchFamily="2" charset="0"/>
              </a:rPr>
              <a:t> </a:t>
            </a:r>
            <a:r>
              <a:rPr lang="fr-FR" sz="1400" b="1" dirty="0" err="1">
                <a:solidFill>
                  <a:srgbClr val="FF0000"/>
                </a:solidFill>
                <a:latin typeface="Roboto" panose="02000000000000000000" pitchFamily="2" charset="0"/>
                <a:ea typeface="Roboto" panose="02000000000000000000" pitchFamily="2" charset="0"/>
              </a:rPr>
              <a:t>bought</a:t>
            </a:r>
            <a:r>
              <a:rPr lang="fr-FR" sz="1400" b="1" dirty="0">
                <a:solidFill>
                  <a:srgbClr val="FF0000"/>
                </a:solidFill>
                <a:latin typeface="Roboto" panose="02000000000000000000" pitchFamily="2" charset="0"/>
                <a:ea typeface="Roboto" panose="02000000000000000000" pitchFamily="2" charset="0"/>
              </a:rPr>
              <a:t> by </a:t>
            </a:r>
            <a:r>
              <a:rPr lang="fr-FR" sz="1400" b="1" dirty="0" err="1">
                <a:solidFill>
                  <a:srgbClr val="FF0000"/>
                </a:solidFill>
                <a:latin typeface="Roboto" panose="02000000000000000000" pitchFamily="2" charset="0"/>
                <a:ea typeface="Roboto" panose="02000000000000000000" pitchFamily="2" charset="0"/>
              </a:rPr>
              <a:t>Bemo</a:t>
            </a:r>
            <a:r>
              <a:rPr lang="fr-FR" sz="1400" b="1" dirty="0">
                <a:solidFill>
                  <a:srgbClr val="FF0000"/>
                </a:solidFill>
                <a:latin typeface="Roboto" panose="02000000000000000000" pitchFamily="2" charset="0"/>
                <a:ea typeface="Roboto" panose="02000000000000000000" pitchFamily="2" charset="0"/>
              </a:rPr>
              <a:t> to </a:t>
            </a:r>
            <a:r>
              <a:rPr lang="fr-FR" sz="1400" b="1" dirty="0" err="1">
                <a:solidFill>
                  <a:srgbClr val="FF0000"/>
                </a:solidFill>
                <a:latin typeface="Roboto" panose="02000000000000000000" pitchFamily="2" charset="0"/>
                <a:ea typeface="Roboto" panose="02000000000000000000" pitchFamily="2" charset="0"/>
              </a:rPr>
              <a:t>CPOs</a:t>
            </a:r>
            <a:r>
              <a:rPr lang="fr-FR" sz="1400" b="1" dirty="0">
                <a:solidFill>
                  <a:srgbClr val="FF0000"/>
                </a:solidFill>
                <a:latin typeface="Roboto" panose="02000000000000000000" pitchFamily="2" charset="0"/>
                <a:ea typeface="Roboto" panose="02000000000000000000" pitchFamily="2" charset="0"/>
              </a:rPr>
              <a:t> (</a:t>
            </a:r>
            <a:r>
              <a:rPr lang="fr-FR" sz="1400" b="1" dirty="0" err="1">
                <a:solidFill>
                  <a:srgbClr val="FF0000"/>
                </a:solidFill>
                <a:latin typeface="Roboto" panose="02000000000000000000" pitchFamily="2" charset="0"/>
                <a:ea typeface="Roboto" panose="02000000000000000000" pitchFamily="2" charset="0"/>
              </a:rPr>
              <a:t>excluding</a:t>
            </a:r>
            <a:r>
              <a:rPr lang="fr-FR" sz="1400" b="1" dirty="0">
                <a:solidFill>
                  <a:srgbClr val="FF0000"/>
                </a:solidFill>
                <a:latin typeface="Roboto" panose="02000000000000000000" pitchFamily="2" charset="0"/>
                <a:ea typeface="Roboto" panose="02000000000000000000" pitchFamily="2" charset="0"/>
              </a:rPr>
              <a:t> VAT and MSP mark-up). </a:t>
            </a:r>
            <a:br>
              <a:rPr lang="fr-FR" sz="1400" b="1" dirty="0">
                <a:solidFill>
                  <a:srgbClr val="FF0000"/>
                </a:solidFill>
                <a:latin typeface="Roboto" panose="02000000000000000000" pitchFamily="2" charset="0"/>
                <a:ea typeface="Roboto" panose="02000000000000000000" pitchFamily="2" charset="0"/>
              </a:rPr>
            </a:br>
            <a:r>
              <a:rPr lang="fr-FR" sz="1400" b="1" dirty="0">
                <a:solidFill>
                  <a:srgbClr val="FF0000"/>
                </a:solidFill>
                <a:latin typeface="Roboto" panose="02000000000000000000" pitchFamily="2" charset="0"/>
                <a:ea typeface="Roboto" panose="02000000000000000000" pitchFamily="2" charset="0"/>
              </a:rPr>
              <a:t>It MUST not </a:t>
            </a:r>
            <a:r>
              <a:rPr lang="fr-FR" sz="1400" b="1" dirty="0" err="1">
                <a:solidFill>
                  <a:srgbClr val="FF0000"/>
                </a:solidFill>
                <a:latin typeface="Roboto" panose="02000000000000000000" pitchFamily="2" charset="0"/>
                <a:ea typeface="Roboto" panose="02000000000000000000" pitchFamily="2" charset="0"/>
              </a:rPr>
              <a:t>be</a:t>
            </a:r>
            <a:r>
              <a:rPr lang="fr-FR" sz="1400" b="1" dirty="0">
                <a:solidFill>
                  <a:srgbClr val="FF0000"/>
                </a:solidFill>
                <a:latin typeface="Roboto" panose="02000000000000000000" pitchFamily="2" charset="0"/>
                <a:ea typeface="Roboto" panose="02000000000000000000" pitchFamily="2" charset="0"/>
              </a:rPr>
              <a:t> </a:t>
            </a:r>
            <a:r>
              <a:rPr lang="fr-FR" sz="1400" b="1" dirty="0" err="1">
                <a:solidFill>
                  <a:srgbClr val="FF0000"/>
                </a:solidFill>
                <a:latin typeface="Roboto" panose="02000000000000000000" pitchFamily="2" charset="0"/>
                <a:ea typeface="Roboto" panose="02000000000000000000" pitchFamily="2" charset="0"/>
              </a:rPr>
              <a:t>considered</a:t>
            </a:r>
            <a:r>
              <a:rPr lang="fr-FR" sz="1400" b="1" dirty="0">
                <a:solidFill>
                  <a:srgbClr val="FF0000"/>
                </a:solidFill>
                <a:latin typeface="Roboto" panose="02000000000000000000" pitchFamily="2" charset="0"/>
                <a:ea typeface="Roboto" panose="02000000000000000000" pitchFamily="2" charset="0"/>
              </a:rPr>
              <a:t> as B2C final EV </a:t>
            </a:r>
            <a:r>
              <a:rPr lang="fr-FR" sz="1400" b="1" dirty="0" err="1">
                <a:solidFill>
                  <a:srgbClr val="FF0000"/>
                </a:solidFill>
                <a:latin typeface="Roboto" panose="02000000000000000000" pitchFamily="2" charset="0"/>
                <a:ea typeface="Roboto" panose="02000000000000000000" pitchFamily="2" charset="0"/>
              </a:rPr>
              <a:t>customer</a:t>
            </a:r>
            <a:r>
              <a:rPr lang="fr-FR" sz="1400" b="1" dirty="0">
                <a:solidFill>
                  <a:srgbClr val="FF0000"/>
                </a:solidFill>
                <a:latin typeface="Roboto" panose="02000000000000000000" pitchFamily="2" charset="0"/>
                <a:ea typeface="Roboto" panose="02000000000000000000" pitchFamily="2" charset="0"/>
              </a:rPr>
              <a:t> </a:t>
            </a:r>
            <a:r>
              <a:rPr lang="fr-FR" sz="1400" b="1" dirty="0" err="1">
                <a:solidFill>
                  <a:srgbClr val="FF0000"/>
                </a:solidFill>
                <a:latin typeface="Roboto" panose="02000000000000000000" pitchFamily="2" charset="0"/>
                <a:ea typeface="Roboto" panose="02000000000000000000" pitchFamily="2" charset="0"/>
              </a:rPr>
              <a:t>price</a:t>
            </a:r>
            <a:r>
              <a:rPr lang="fr-FR" sz="1400" b="1" dirty="0">
                <a:solidFill>
                  <a:srgbClr val="FF0000"/>
                </a:solidFill>
                <a:latin typeface="Roboto" panose="02000000000000000000" pitchFamily="2" charset="0"/>
                <a:ea typeface="Roboto" panose="02000000000000000000" pitchFamily="2" charset="0"/>
              </a:rPr>
              <a:t> on the </a:t>
            </a:r>
            <a:r>
              <a:rPr lang="fr-FR" sz="1400" b="1" dirty="0" err="1">
                <a:solidFill>
                  <a:srgbClr val="FF0000"/>
                </a:solidFill>
                <a:latin typeface="Roboto" panose="02000000000000000000" pitchFamily="2" charset="0"/>
                <a:ea typeface="Roboto" panose="02000000000000000000" pitchFamily="2" charset="0"/>
              </a:rPr>
              <a:t>invoice</a:t>
            </a:r>
            <a:r>
              <a:rPr lang="fr-FR" sz="1400" b="1" dirty="0">
                <a:solidFill>
                  <a:srgbClr val="FF0000"/>
                </a:solidFill>
                <a:latin typeface="Roboto" panose="02000000000000000000" pitchFamily="2" charset="0"/>
                <a:ea typeface="Roboto" panose="02000000000000000000" pitchFamily="2" charset="0"/>
              </a:rPr>
              <a:t>.</a:t>
            </a:r>
          </a:p>
          <a:p>
            <a:pPr marL="285750" indent="-285750">
              <a:buFont typeface="Arial" panose="020B0604020202020204" pitchFamily="34" charset="0"/>
              <a:buChar char="•"/>
            </a:pPr>
            <a:endParaRPr lang="fr-FR" sz="1400" dirty="0"/>
          </a:p>
          <a:p>
            <a:pPr marL="742950" lvl="1" indent="-285750">
              <a:buFont typeface="Arial" panose="020B0604020202020204" pitchFamily="34" charset="0"/>
              <a:buChar char="•"/>
            </a:pPr>
            <a:endParaRPr lang="fr-FR" sz="1400" dirty="0"/>
          </a:p>
          <a:p>
            <a:pPr marL="285750" indent="-285750">
              <a:buFont typeface="Arial" panose="020B0604020202020204" pitchFamily="34" charset="0"/>
              <a:buChar char="•"/>
            </a:pPr>
            <a:endParaRPr lang="fr-FR" sz="1400" dirty="0"/>
          </a:p>
          <a:p>
            <a:pPr marL="285750" indent="-285750">
              <a:buFont typeface="Arial" panose="020B0604020202020204" pitchFamily="34" charset="0"/>
              <a:buChar char="•"/>
            </a:pPr>
            <a:endParaRPr lang="fr-FR" sz="1400" dirty="0"/>
          </a:p>
        </p:txBody>
      </p:sp>
      <p:sp>
        <p:nvSpPr>
          <p:cNvPr id="6" name="Espace réservé du numéro de diapositive 5">
            <a:extLst>
              <a:ext uri="{FF2B5EF4-FFF2-40B4-BE49-F238E27FC236}">
                <a16:creationId xmlns:a16="http://schemas.microsoft.com/office/drawing/2014/main" id="{EC9D517D-70A7-51E5-CA4E-DCE743F41F1A}"/>
              </a:ext>
            </a:extLst>
          </p:cNvPr>
          <p:cNvSpPr>
            <a:spLocks noGrp="1"/>
          </p:cNvSpPr>
          <p:nvPr>
            <p:ph type="sldNum" sz="quarter" idx="18"/>
          </p:nvPr>
        </p:nvSpPr>
        <p:spPr/>
        <p:txBody>
          <a:bodyPr/>
          <a:lstStyle/>
          <a:p>
            <a:fld id="{E9F690C6-F4CD-4FC2-95DF-E832AE3B8C23}" type="slidenum">
              <a:rPr lang="fr-FR" smtClean="0"/>
              <a:pPr/>
              <a:t>7</a:t>
            </a:fld>
            <a:endParaRPr lang="fr-FR"/>
          </a:p>
        </p:txBody>
      </p:sp>
    </p:spTree>
    <p:extLst>
      <p:ext uri="{BB962C8B-B14F-4D97-AF65-F5344CB8AC3E}">
        <p14:creationId xmlns:p14="http://schemas.microsoft.com/office/powerpoint/2010/main" val="209653098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A691175-E3FF-7DC1-B541-0E7FF0C4A2BF}"/>
              </a:ext>
            </a:extLst>
          </p:cNvPr>
          <p:cNvGraphicFramePr>
            <a:graphicFrameLocks noChangeAspect="1"/>
          </p:cNvGraphicFramePr>
          <p:nvPr>
            <p:custDataLst>
              <p:tags r:id="rId1"/>
            </p:custDataLst>
            <p:extLst>
              <p:ext uri="{D42A27DB-BD31-4B8C-83A1-F6EECF244321}">
                <p14:modId xmlns:p14="http://schemas.microsoft.com/office/powerpoint/2010/main" val="41462515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95" imgH="394" progId="TCLayout.ActiveDocument.1">
                  <p:embed/>
                </p:oleObj>
              </mc:Choice>
              <mc:Fallback>
                <p:oleObj name="Diapositive think-cell" r:id="rId3" imgW="395" imgH="394" progId="TCLayout.ActiveDocument.1">
                  <p:embed/>
                  <p:pic>
                    <p:nvPicPr>
                      <p:cNvPr id="5" name="think-cell data - do not delete" hidden="1">
                        <a:extLst>
                          <a:ext uri="{FF2B5EF4-FFF2-40B4-BE49-F238E27FC236}">
                            <a16:creationId xmlns:a16="http://schemas.microsoft.com/office/drawing/2014/main" id="{0A691175-E3FF-7DC1-B541-0E7FF0C4A2B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E52B8373-62D1-544B-7A5C-41B622D6A38F}"/>
              </a:ext>
            </a:extLst>
          </p:cNvPr>
          <p:cNvSpPr>
            <a:spLocks noGrp="1"/>
          </p:cNvSpPr>
          <p:nvPr>
            <p:ph type="title"/>
          </p:nvPr>
        </p:nvSpPr>
        <p:spPr>
          <a:xfrm>
            <a:off x="874868" y="302393"/>
            <a:ext cx="9738335" cy="649922"/>
          </a:xfrm>
        </p:spPr>
        <p:txBody>
          <a:bodyPr vert="horz"/>
          <a:lstStyle/>
          <a:p>
            <a:r>
              <a:rPr lang="fr-FR" dirty="0"/>
              <a:t>Item 2 description</a:t>
            </a:r>
          </a:p>
        </p:txBody>
      </p:sp>
      <p:sp>
        <p:nvSpPr>
          <p:cNvPr id="4" name="Espace réservé du texte 3">
            <a:extLst>
              <a:ext uri="{FF2B5EF4-FFF2-40B4-BE49-F238E27FC236}">
                <a16:creationId xmlns:a16="http://schemas.microsoft.com/office/drawing/2014/main" id="{430F12B2-8A30-D6A2-6AC7-ABAE7B02E283}"/>
              </a:ext>
            </a:extLst>
          </p:cNvPr>
          <p:cNvSpPr>
            <a:spLocks noGrp="1"/>
          </p:cNvSpPr>
          <p:nvPr>
            <p:ph type="body" sz="quarter" idx="16"/>
          </p:nvPr>
        </p:nvSpPr>
        <p:spPr>
          <a:xfrm>
            <a:off x="677891" y="1060186"/>
            <a:ext cx="11156825" cy="4531865"/>
          </a:xfrm>
        </p:spPr>
        <p:txBody>
          <a:bodyPr/>
          <a:lstStyle/>
          <a:p>
            <a:pPr marL="285750" indent="-285750">
              <a:buFont typeface="Arial" panose="020B0604020202020204" pitchFamily="34" charset="0"/>
              <a:buChar char="•"/>
            </a:pPr>
            <a:r>
              <a:rPr lang="fr-FR" sz="1400" dirty="0" err="1"/>
              <a:t>Purpose</a:t>
            </a:r>
            <a:r>
              <a:rPr lang="fr-FR" sz="1400" dirty="0"/>
              <a:t> : </a:t>
            </a:r>
            <a:r>
              <a:rPr lang="fr-FR" sz="1400" dirty="0" err="1"/>
              <a:t>give</a:t>
            </a:r>
            <a:r>
              <a:rPr lang="fr-FR" sz="1400" dirty="0"/>
              <a:t> conclusion about </a:t>
            </a:r>
            <a:r>
              <a:rPr lang="fr-FR" sz="1400" dirty="0" err="1"/>
              <a:t>Bemo</a:t>
            </a:r>
            <a:r>
              <a:rPr lang="fr-FR" sz="1400" dirty="0"/>
              <a:t> V2 </a:t>
            </a:r>
            <a:r>
              <a:rPr lang="fr-FR" sz="1400" dirty="0" err="1"/>
              <a:t>pricer</a:t>
            </a:r>
            <a:r>
              <a:rPr lang="fr-FR" sz="1400" dirty="0"/>
              <a:t> estimation. How </a:t>
            </a:r>
            <a:r>
              <a:rPr lang="fr-FR" sz="1400" dirty="0" err="1"/>
              <a:t>is</a:t>
            </a:r>
            <a:r>
              <a:rPr lang="fr-FR" sz="1400" dirty="0"/>
              <a:t> </a:t>
            </a:r>
            <a:r>
              <a:rPr lang="fr-FR" sz="1400" dirty="0" err="1"/>
              <a:t>it</a:t>
            </a:r>
            <a:r>
              <a:rPr lang="fr-FR" sz="1400" dirty="0"/>
              <a:t> </a:t>
            </a:r>
            <a:r>
              <a:rPr lang="fr-FR" sz="1400" dirty="0" err="1"/>
              <a:t>accurate</a:t>
            </a:r>
            <a:r>
              <a:rPr lang="fr-FR" sz="1400" dirty="0"/>
              <a:t> ? Can </a:t>
            </a:r>
            <a:r>
              <a:rPr lang="fr-FR" sz="1400" dirty="0" err="1"/>
              <a:t>you</a:t>
            </a:r>
            <a:r>
              <a:rPr lang="fr-FR" sz="1400" dirty="0"/>
              <a:t> </a:t>
            </a:r>
            <a:r>
              <a:rPr lang="fr-FR" sz="1400" dirty="0" err="1"/>
              <a:t>define</a:t>
            </a:r>
            <a:r>
              <a:rPr lang="fr-FR" sz="1400" dirty="0"/>
              <a:t> </a:t>
            </a:r>
            <a:r>
              <a:rPr lang="fr-FR" sz="1400" dirty="0" err="1"/>
              <a:t>parameters</a:t>
            </a:r>
            <a:r>
              <a:rPr lang="fr-FR" sz="1400" dirty="0"/>
              <a:t> of </a:t>
            </a:r>
            <a:r>
              <a:rPr lang="fr-FR" sz="1400" dirty="0" err="1"/>
              <a:t>interest</a:t>
            </a:r>
            <a:r>
              <a:rPr lang="fr-FR" sz="1400" dirty="0"/>
              <a:t>  </a:t>
            </a:r>
            <a:r>
              <a:rPr lang="fr-FR" sz="1400" dirty="0" err="1"/>
              <a:t>where</a:t>
            </a:r>
            <a:r>
              <a:rPr lang="fr-FR" sz="1400" dirty="0"/>
              <a:t> the </a:t>
            </a:r>
            <a:r>
              <a:rPr lang="fr-FR" sz="1400" dirty="0" err="1"/>
              <a:t>pricer</a:t>
            </a:r>
            <a:r>
              <a:rPr lang="fr-FR" sz="1400" dirty="0"/>
              <a:t> </a:t>
            </a:r>
            <a:r>
              <a:rPr lang="fr-FR" sz="1400" dirty="0" err="1"/>
              <a:t>should</a:t>
            </a:r>
            <a:r>
              <a:rPr lang="fr-FR" sz="1400" dirty="0"/>
              <a:t> </a:t>
            </a:r>
            <a:r>
              <a:rPr lang="fr-FR" sz="1400" dirty="0" err="1"/>
              <a:t>be</a:t>
            </a:r>
            <a:r>
              <a:rPr lang="fr-FR" sz="1400" dirty="0"/>
              <a:t> </a:t>
            </a:r>
            <a:r>
              <a:rPr lang="fr-FR" sz="1400" dirty="0" err="1"/>
              <a:t>improved</a:t>
            </a:r>
            <a:r>
              <a:rPr lang="fr-FR" sz="1400" dirty="0"/>
              <a:t> ?</a:t>
            </a:r>
          </a:p>
          <a:p>
            <a:pPr marL="742950" lvl="1" indent="-285750">
              <a:buFont typeface="Arial" panose="020B0604020202020204" pitchFamily="34" charset="0"/>
              <a:buChar char="•"/>
            </a:pPr>
            <a:r>
              <a:rPr lang="fr-FR" sz="1400" dirty="0"/>
              <a:t>Reference value : </a:t>
            </a:r>
            <a:r>
              <a:rPr lang="fr-FR" sz="1400" dirty="0" err="1"/>
              <a:t>Transaction_Price</a:t>
            </a:r>
            <a:endParaRPr lang="fr-FR" sz="1400" dirty="0"/>
          </a:p>
          <a:p>
            <a:pPr marL="742950" lvl="1" indent="-285750">
              <a:buFont typeface="Arial" panose="020B0604020202020204" pitchFamily="34" charset="0"/>
              <a:buChar char="•"/>
            </a:pPr>
            <a:r>
              <a:rPr lang="fr-FR" sz="1400" dirty="0" err="1"/>
              <a:t>Parameter</a:t>
            </a:r>
            <a:r>
              <a:rPr lang="fr-FR" sz="1400" dirty="0"/>
              <a:t> to </a:t>
            </a:r>
            <a:r>
              <a:rPr lang="fr-FR" sz="1400" dirty="0" err="1"/>
              <a:t>assess</a:t>
            </a:r>
            <a:r>
              <a:rPr lang="fr-FR" sz="1400" dirty="0"/>
              <a:t> : </a:t>
            </a:r>
            <a:r>
              <a:rPr lang="fr-FR" sz="1400" dirty="0" err="1"/>
              <a:t>Transaction_Price_Bemo_Estimation</a:t>
            </a:r>
            <a:r>
              <a:rPr lang="fr-FR" sz="1400" dirty="0"/>
              <a:t> </a:t>
            </a:r>
          </a:p>
          <a:p>
            <a:pPr marL="742950" lvl="1" indent="-285750">
              <a:buFont typeface="Arial" panose="020B0604020202020204" pitchFamily="34" charset="0"/>
              <a:buChar char="•"/>
            </a:pPr>
            <a:r>
              <a:rPr lang="fr-FR" sz="1400" dirty="0" err="1"/>
              <a:t>Whether</a:t>
            </a:r>
            <a:r>
              <a:rPr lang="fr-FR" sz="1400" dirty="0"/>
              <a:t> </a:t>
            </a:r>
            <a:r>
              <a:rPr lang="fr-FR" sz="1400" dirty="0" err="1"/>
              <a:t>general</a:t>
            </a:r>
            <a:r>
              <a:rPr lang="fr-FR" sz="1400" dirty="0"/>
              <a:t> conclusion or </a:t>
            </a:r>
            <a:r>
              <a:rPr lang="fr-FR" sz="1400" dirty="0" err="1"/>
              <a:t>numerical</a:t>
            </a:r>
            <a:r>
              <a:rPr lang="fr-FR" sz="1400" dirty="0"/>
              <a:t> </a:t>
            </a:r>
            <a:r>
              <a:rPr lang="fr-FR" sz="1400" dirty="0" err="1"/>
              <a:t>statement</a:t>
            </a:r>
            <a:r>
              <a:rPr lang="fr-FR" sz="1400" dirty="0"/>
              <a:t> (% </a:t>
            </a:r>
            <a:r>
              <a:rPr lang="fr-FR" sz="1400" dirty="0" err="1"/>
              <a:t>dependency</a:t>
            </a:r>
            <a:r>
              <a:rPr lang="fr-FR" sz="1400" dirty="0"/>
              <a:t>, </a:t>
            </a:r>
            <a:r>
              <a:rPr lang="fr-FR" sz="1400" dirty="0" err="1"/>
              <a:t>error</a:t>
            </a:r>
            <a:r>
              <a:rPr lang="fr-FR" sz="1400" dirty="0"/>
              <a:t> interpolation </a:t>
            </a:r>
            <a:r>
              <a:rPr lang="fr-FR" sz="1400" dirty="0" err="1"/>
              <a:t>parameters</a:t>
            </a:r>
            <a:r>
              <a:rPr lang="fr-FR" sz="1400" dirty="0"/>
              <a:t>, </a:t>
            </a:r>
            <a:r>
              <a:rPr lang="fr-FR" sz="1400" dirty="0" err="1"/>
              <a:t>error</a:t>
            </a:r>
            <a:r>
              <a:rPr lang="fr-FR" sz="1400" dirty="0"/>
              <a:t> set as </a:t>
            </a:r>
            <a:r>
              <a:rPr lang="fr-FR" sz="1400" dirty="0" err="1"/>
              <a:t>trx_price</a:t>
            </a:r>
            <a:r>
              <a:rPr lang="fr-FR" sz="1400" dirty="0"/>
              <a:t> – </a:t>
            </a:r>
            <a:r>
              <a:rPr lang="fr-FR" sz="1400" dirty="0" err="1"/>
              <a:t>bemo_estim</a:t>
            </a:r>
            <a:r>
              <a:rPr lang="fr-FR" sz="1400" dirty="0"/>
              <a:t>) </a:t>
            </a:r>
            <a:r>
              <a:rPr lang="fr-FR" sz="1400" dirty="0" err="1"/>
              <a:t>depending</a:t>
            </a:r>
            <a:r>
              <a:rPr lang="fr-FR" sz="1400" dirty="0"/>
              <a:t> of the </a:t>
            </a:r>
            <a:r>
              <a:rPr lang="fr-FR" sz="1400" dirty="0" err="1"/>
              <a:t>accuracy</a:t>
            </a:r>
            <a:r>
              <a:rPr lang="fr-FR" sz="1400" dirty="0"/>
              <a:t> of the </a:t>
            </a:r>
            <a:r>
              <a:rPr lang="fr-FR" sz="1400" dirty="0" err="1"/>
              <a:t>dataset</a:t>
            </a:r>
            <a:r>
              <a:rPr lang="fr-FR" sz="1400" dirty="0"/>
              <a:t>, </a:t>
            </a:r>
            <a:r>
              <a:rPr lang="fr-FR" sz="1400" dirty="0" err="1"/>
              <a:t>working</a:t>
            </a:r>
            <a:r>
              <a:rPr lang="fr-FR" sz="1400" dirty="0"/>
              <a:t> time…</a:t>
            </a:r>
          </a:p>
          <a:p>
            <a:pPr lvl="1"/>
            <a:endParaRPr lang="fr-FR" sz="1400" dirty="0"/>
          </a:p>
          <a:p>
            <a:pPr marL="285750" indent="-285750">
              <a:buFont typeface="Arial" panose="020B0604020202020204" pitchFamily="34" charset="0"/>
              <a:buChar char="•"/>
            </a:pPr>
            <a:r>
              <a:rPr lang="fr-FR" sz="1400" dirty="0"/>
              <a:t>Informative </a:t>
            </a:r>
            <a:r>
              <a:rPr lang="fr-FR" sz="1400" dirty="0" err="1"/>
              <a:t>schedule</a:t>
            </a:r>
            <a:r>
              <a:rPr lang="fr-FR" sz="1400" dirty="0"/>
              <a:t> : March 15th to March 31st</a:t>
            </a:r>
          </a:p>
          <a:p>
            <a:pPr marL="285750" indent="-285750">
              <a:buFont typeface="Arial" panose="020B0604020202020204" pitchFamily="34" charset="0"/>
              <a:buChar char="•"/>
            </a:pPr>
            <a:endParaRPr lang="fr-FR" sz="1400" dirty="0"/>
          </a:p>
          <a:p>
            <a:pPr marL="285750" indent="-285750">
              <a:buFont typeface="Arial" panose="020B0604020202020204" pitchFamily="34" charset="0"/>
              <a:buChar char="•"/>
            </a:pPr>
            <a:r>
              <a:rPr lang="fr-FR" sz="1400" dirty="0" err="1"/>
              <a:t>Available</a:t>
            </a:r>
            <a:r>
              <a:rPr lang="fr-FR" sz="1400" dirty="0"/>
              <a:t> </a:t>
            </a:r>
            <a:r>
              <a:rPr lang="fr-FR" sz="1400" dirty="0" err="1"/>
              <a:t>datasets</a:t>
            </a:r>
            <a:r>
              <a:rPr lang="fr-FR" sz="1400" dirty="0"/>
              <a:t> : </a:t>
            </a:r>
          </a:p>
          <a:p>
            <a:pPr marL="742950" lvl="1" indent="-285750">
              <a:buFont typeface="Arial" panose="020B0604020202020204" pitchFamily="34" charset="0"/>
              <a:buChar char="•"/>
            </a:pPr>
            <a:r>
              <a:rPr lang="fr-FR" sz="1400" dirty="0"/>
              <a:t>Transactions </a:t>
            </a:r>
            <a:r>
              <a:rPr lang="fr-FR" sz="1400" dirty="0" err="1"/>
              <a:t>filtered</a:t>
            </a:r>
            <a:r>
              <a:rPr lang="fr-FR" sz="1400" dirty="0"/>
              <a:t> to 3 countries (NL, DE, FR) and 3 </a:t>
            </a:r>
            <a:r>
              <a:rPr lang="fr-FR" sz="1400" dirty="0" err="1"/>
              <a:t>CPOs</a:t>
            </a:r>
            <a:r>
              <a:rPr lang="fr-FR" sz="1400" dirty="0"/>
              <a:t> (Last Mile Solutions, </a:t>
            </a:r>
            <a:r>
              <a:rPr lang="fr-FR" sz="1400" dirty="0" err="1"/>
              <a:t>TotalEnergies</a:t>
            </a:r>
            <a:r>
              <a:rPr lang="fr-FR" sz="1400" dirty="0"/>
              <a:t>, Charge Point)</a:t>
            </a:r>
          </a:p>
          <a:p>
            <a:pPr marL="742950" lvl="1" indent="-285750">
              <a:buFont typeface="Arial" panose="020B0604020202020204" pitchFamily="34" charset="0"/>
              <a:buChar char="•"/>
            </a:pPr>
            <a:r>
              <a:rPr lang="fr-FR" sz="1400" dirty="0"/>
              <a:t>Transactions over </a:t>
            </a:r>
            <a:r>
              <a:rPr lang="fr-FR" sz="1400" dirty="0" err="1"/>
              <a:t>December</a:t>
            </a:r>
            <a:r>
              <a:rPr lang="fr-FR" sz="1400" dirty="0"/>
              <a:t> 2023, </a:t>
            </a:r>
            <a:r>
              <a:rPr lang="fr-FR" sz="1400" dirty="0" err="1"/>
              <a:t>January</a:t>
            </a:r>
            <a:r>
              <a:rPr lang="fr-FR" sz="1400" dirty="0"/>
              <a:t> and </a:t>
            </a:r>
            <a:r>
              <a:rPr lang="fr-FR" sz="1400" dirty="0" err="1"/>
              <a:t>February</a:t>
            </a:r>
            <a:r>
              <a:rPr lang="fr-FR" sz="1400" dirty="0"/>
              <a:t> 2024 </a:t>
            </a:r>
            <a:r>
              <a:rPr lang="fr-FR" sz="1400" dirty="0" err="1"/>
              <a:t>using</a:t>
            </a:r>
            <a:r>
              <a:rPr lang="fr-FR" sz="1400" dirty="0"/>
              <a:t> </a:t>
            </a:r>
            <a:r>
              <a:rPr lang="fr-FR" sz="1400" dirty="0" err="1"/>
              <a:t>Bemo</a:t>
            </a:r>
            <a:r>
              <a:rPr lang="fr-FR" sz="1400" dirty="0"/>
              <a:t> </a:t>
            </a:r>
            <a:r>
              <a:rPr lang="fr-FR" sz="1400" dirty="0" err="1"/>
              <a:t>Pricer</a:t>
            </a:r>
            <a:r>
              <a:rPr lang="fr-FR" sz="1400" dirty="0"/>
              <a:t> V2 (more </a:t>
            </a:r>
            <a:r>
              <a:rPr lang="fr-FR" sz="1400" dirty="0" err="1"/>
              <a:t>accurate</a:t>
            </a:r>
            <a:r>
              <a:rPr lang="fr-FR" sz="1400" dirty="0"/>
              <a:t>)</a:t>
            </a:r>
          </a:p>
          <a:p>
            <a:pPr marL="1200150" lvl="2" indent="-285750">
              <a:buFont typeface="Arial" panose="020B0604020202020204" pitchFamily="34" charset="0"/>
              <a:buChar char="•"/>
            </a:pPr>
            <a:r>
              <a:rPr lang="en-US" sz="1400" dirty="0"/>
              <a:t>Sampled_Dataset_Transactions_PricerV2_filt_1_2 </a:t>
            </a:r>
          </a:p>
          <a:p>
            <a:pPr marL="1200150" lvl="2" indent="-285750">
              <a:buFont typeface="Arial" panose="020B0604020202020204" pitchFamily="34" charset="0"/>
              <a:buChar char="•"/>
            </a:pPr>
            <a:r>
              <a:rPr lang="en-US" sz="1400" dirty="0"/>
              <a:t>Sampled_Dataset_Transactions_PricerV2_filt_2_2 </a:t>
            </a:r>
          </a:p>
          <a:p>
            <a:pPr marL="742950" lvl="1" indent="-285750">
              <a:buFont typeface="Arial" panose="020B0604020202020204" pitchFamily="34" charset="0"/>
              <a:buChar char="•"/>
            </a:pPr>
            <a:r>
              <a:rPr lang="fr-FR" sz="1400" dirty="0" err="1"/>
              <a:t>Optional</a:t>
            </a:r>
            <a:r>
              <a:rPr lang="fr-FR" sz="1400" dirty="0"/>
              <a:t> : EVSE </a:t>
            </a:r>
            <a:r>
              <a:rPr lang="fr-FR" sz="1400" dirty="0" err="1"/>
              <a:t>dataset</a:t>
            </a:r>
            <a:r>
              <a:rPr lang="fr-FR" sz="1400" dirty="0"/>
              <a:t> can </a:t>
            </a:r>
            <a:r>
              <a:rPr lang="fr-FR" sz="1400" dirty="0" err="1"/>
              <a:t>be</a:t>
            </a:r>
            <a:r>
              <a:rPr lang="fr-FR" sz="1400" dirty="0"/>
              <a:t> </a:t>
            </a:r>
            <a:r>
              <a:rPr lang="fr-FR" sz="1400" dirty="0" err="1"/>
              <a:t>found</a:t>
            </a:r>
            <a:r>
              <a:rPr lang="fr-FR" sz="1400" dirty="0"/>
              <a:t> </a:t>
            </a:r>
            <a:r>
              <a:rPr lang="fr-FR" sz="1400" dirty="0" err="1"/>
              <a:t>taking</a:t>
            </a:r>
            <a:r>
              <a:rPr lang="fr-FR" sz="1400" dirty="0"/>
              <a:t> unique </a:t>
            </a:r>
            <a:r>
              <a:rPr lang="fr-FR" sz="1400" dirty="0" err="1"/>
              <a:t>reference</a:t>
            </a:r>
            <a:r>
              <a:rPr lang="fr-FR" sz="1400" dirty="0"/>
              <a:t> of </a:t>
            </a:r>
            <a:r>
              <a:rPr lang="fr-FR" sz="1400" dirty="0" err="1"/>
              <a:t>EVSE_Id</a:t>
            </a:r>
            <a:r>
              <a:rPr lang="fr-FR" sz="1400" dirty="0"/>
              <a:t> in </a:t>
            </a:r>
            <a:r>
              <a:rPr lang="fr-FR" sz="1400" dirty="0" err="1"/>
              <a:t>these</a:t>
            </a:r>
            <a:r>
              <a:rPr lang="fr-FR" sz="1400" dirty="0"/>
              <a:t> </a:t>
            </a:r>
            <a:r>
              <a:rPr lang="fr-FR" sz="1400" dirty="0" err="1"/>
              <a:t>previous</a:t>
            </a:r>
            <a:r>
              <a:rPr lang="fr-FR" sz="1400" dirty="0"/>
              <a:t> </a:t>
            </a:r>
            <a:r>
              <a:rPr lang="fr-FR" sz="1400" dirty="0" err="1"/>
              <a:t>datasets</a:t>
            </a:r>
            <a:r>
              <a:rPr lang="fr-FR" sz="1400" dirty="0"/>
              <a:t>. Physical </a:t>
            </a:r>
            <a:r>
              <a:rPr lang="fr-FR" sz="1400" dirty="0" err="1"/>
              <a:t>features</a:t>
            </a:r>
            <a:r>
              <a:rPr lang="fr-FR" sz="1400" dirty="0"/>
              <a:t> </a:t>
            </a:r>
            <a:r>
              <a:rPr lang="fr-FR" sz="1400" dirty="0" err="1"/>
              <a:t>related</a:t>
            </a:r>
            <a:r>
              <a:rPr lang="fr-FR" sz="1400" dirty="0"/>
              <a:t> to EVSE are </a:t>
            </a:r>
            <a:r>
              <a:rPr lang="fr-FR" sz="1400" dirty="0" err="1"/>
              <a:t>just</a:t>
            </a:r>
            <a:r>
              <a:rPr lang="fr-FR" sz="1400" dirty="0"/>
              <a:t> Latitude, Longitude, </a:t>
            </a:r>
            <a:r>
              <a:rPr lang="fr-FR" sz="1400" dirty="0" err="1"/>
              <a:t>Country_Code</a:t>
            </a:r>
            <a:r>
              <a:rPr lang="fr-FR" sz="1400" dirty="0"/>
              <a:t>, </a:t>
            </a:r>
            <a:r>
              <a:rPr lang="fr-FR" sz="1400" dirty="0" err="1"/>
              <a:t>Country_Name</a:t>
            </a:r>
            <a:r>
              <a:rPr lang="fr-FR" sz="1400" dirty="0"/>
              <a:t>, Power, </a:t>
            </a:r>
            <a:r>
              <a:rPr lang="fr-FR" sz="1400" dirty="0" err="1"/>
              <a:t>Power_segment</a:t>
            </a:r>
            <a:r>
              <a:rPr lang="fr-FR" sz="1400" dirty="0"/>
              <a:t>. </a:t>
            </a:r>
          </a:p>
          <a:p>
            <a:pPr marL="742950" lvl="1" indent="-285750">
              <a:buFont typeface="Arial" panose="020B0604020202020204" pitchFamily="34" charset="0"/>
              <a:buChar char="•"/>
            </a:pPr>
            <a:endParaRPr lang="fr-FR" sz="1400" dirty="0"/>
          </a:p>
          <a:p>
            <a:pPr marL="285750" indent="-285750">
              <a:buFont typeface="Arial" panose="020B0604020202020204" pitchFamily="34" charset="0"/>
              <a:buChar char="•"/>
            </a:pPr>
            <a:r>
              <a:rPr lang="fr-FR" sz="1400" dirty="0" err="1"/>
              <a:t>Features</a:t>
            </a:r>
            <a:r>
              <a:rPr lang="fr-FR" sz="1400" dirty="0"/>
              <a:t> description : </a:t>
            </a:r>
            <a:r>
              <a:rPr lang="fr-FR" sz="1400" dirty="0" err="1"/>
              <a:t>refer</a:t>
            </a:r>
            <a:r>
              <a:rPr lang="fr-FR" sz="1400" dirty="0"/>
              <a:t> to section of item 1 </a:t>
            </a:r>
          </a:p>
        </p:txBody>
      </p:sp>
      <p:sp>
        <p:nvSpPr>
          <p:cNvPr id="6" name="Espace réservé du numéro de diapositive 5">
            <a:extLst>
              <a:ext uri="{FF2B5EF4-FFF2-40B4-BE49-F238E27FC236}">
                <a16:creationId xmlns:a16="http://schemas.microsoft.com/office/drawing/2014/main" id="{EC9D517D-70A7-51E5-CA4E-DCE743F41F1A}"/>
              </a:ext>
            </a:extLst>
          </p:cNvPr>
          <p:cNvSpPr>
            <a:spLocks noGrp="1"/>
          </p:cNvSpPr>
          <p:nvPr>
            <p:ph type="sldNum" sz="quarter" idx="18"/>
          </p:nvPr>
        </p:nvSpPr>
        <p:spPr/>
        <p:txBody>
          <a:bodyPr/>
          <a:lstStyle/>
          <a:p>
            <a:fld id="{E9F690C6-F4CD-4FC2-95DF-E832AE3B8C23}" type="slidenum">
              <a:rPr lang="fr-FR" smtClean="0"/>
              <a:pPr/>
              <a:t>8</a:t>
            </a:fld>
            <a:endParaRPr lang="fr-FR"/>
          </a:p>
        </p:txBody>
      </p:sp>
    </p:spTree>
    <p:extLst>
      <p:ext uri="{BB962C8B-B14F-4D97-AF65-F5344CB8AC3E}">
        <p14:creationId xmlns:p14="http://schemas.microsoft.com/office/powerpoint/2010/main" val="21117939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A691175-E3FF-7DC1-B541-0E7FF0C4A2B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95" imgH="394" progId="TCLayout.ActiveDocument.1">
                  <p:embed/>
                </p:oleObj>
              </mc:Choice>
              <mc:Fallback>
                <p:oleObj name="Diapositive think-cell" r:id="rId3" imgW="395" imgH="394" progId="TCLayout.ActiveDocument.1">
                  <p:embed/>
                  <p:pic>
                    <p:nvPicPr>
                      <p:cNvPr id="5" name="think-cell data - do not delete" hidden="1">
                        <a:extLst>
                          <a:ext uri="{FF2B5EF4-FFF2-40B4-BE49-F238E27FC236}">
                            <a16:creationId xmlns:a16="http://schemas.microsoft.com/office/drawing/2014/main" id="{0A691175-E3FF-7DC1-B541-0E7FF0C4A2B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E52B8373-62D1-544B-7A5C-41B622D6A38F}"/>
              </a:ext>
            </a:extLst>
          </p:cNvPr>
          <p:cNvSpPr>
            <a:spLocks noGrp="1"/>
          </p:cNvSpPr>
          <p:nvPr>
            <p:ph type="title"/>
          </p:nvPr>
        </p:nvSpPr>
        <p:spPr>
          <a:xfrm>
            <a:off x="874868" y="302393"/>
            <a:ext cx="9738335" cy="649922"/>
          </a:xfrm>
        </p:spPr>
        <p:txBody>
          <a:bodyPr vert="horz"/>
          <a:lstStyle/>
          <a:p>
            <a:r>
              <a:rPr lang="fr-FR" dirty="0"/>
              <a:t>Item 3 description</a:t>
            </a:r>
          </a:p>
        </p:txBody>
      </p:sp>
      <p:sp>
        <p:nvSpPr>
          <p:cNvPr id="4" name="Espace réservé du texte 3">
            <a:extLst>
              <a:ext uri="{FF2B5EF4-FFF2-40B4-BE49-F238E27FC236}">
                <a16:creationId xmlns:a16="http://schemas.microsoft.com/office/drawing/2014/main" id="{430F12B2-8A30-D6A2-6AC7-ABAE7B02E283}"/>
              </a:ext>
            </a:extLst>
          </p:cNvPr>
          <p:cNvSpPr>
            <a:spLocks noGrp="1"/>
          </p:cNvSpPr>
          <p:nvPr>
            <p:ph type="body" sz="quarter" idx="16"/>
          </p:nvPr>
        </p:nvSpPr>
        <p:spPr>
          <a:xfrm>
            <a:off x="677891" y="926623"/>
            <a:ext cx="11156825" cy="5628983"/>
          </a:xfrm>
        </p:spPr>
        <p:txBody>
          <a:bodyPr/>
          <a:lstStyle/>
          <a:p>
            <a:pPr marL="285750" indent="-285750">
              <a:buFont typeface="Arial" panose="020B0604020202020204" pitchFamily="34" charset="0"/>
              <a:buChar char="•"/>
            </a:pPr>
            <a:r>
              <a:rPr lang="fr-FR" sz="1400" dirty="0" err="1"/>
              <a:t>Purpose</a:t>
            </a:r>
            <a:r>
              <a:rPr lang="fr-FR" sz="1400" dirty="0"/>
              <a:t> : </a:t>
            </a:r>
            <a:r>
              <a:rPr lang="fr-FR" sz="1400" dirty="0" err="1"/>
              <a:t>handle</a:t>
            </a:r>
            <a:r>
              <a:rPr lang="fr-FR" sz="1400" dirty="0"/>
              <a:t> </a:t>
            </a:r>
            <a:r>
              <a:rPr lang="fr-FR" sz="1400" dirty="0" err="1"/>
              <a:t>Bemo</a:t>
            </a:r>
            <a:r>
              <a:rPr lang="fr-FR" sz="1400" dirty="0"/>
              <a:t> </a:t>
            </a:r>
            <a:r>
              <a:rPr lang="fr-FR" sz="1400" dirty="0" err="1"/>
              <a:t>Pricer</a:t>
            </a:r>
            <a:r>
              <a:rPr lang="fr-FR" sz="1400" dirty="0"/>
              <a:t> V2 as a Python </a:t>
            </a:r>
            <a:r>
              <a:rPr lang="fr-FR" sz="1400" dirty="0" err="1"/>
              <a:t>request</a:t>
            </a:r>
            <a:r>
              <a:rPr lang="fr-FR" sz="1400" dirty="0"/>
              <a:t> </a:t>
            </a:r>
            <a:r>
              <a:rPr lang="fr-FR" sz="1400" dirty="0" err="1"/>
              <a:t>tool</a:t>
            </a:r>
            <a:r>
              <a:rPr lang="fr-FR" sz="1400" dirty="0"/>
              <a:t>. </a:t>
            </a:r>
            <a:br>
              <a:rPr lang="fr-FR" sz="1400" dirty="0"/>
            </a:br>
            <a:r>
              <a:rPr lang="fr-FR" sz="1400" dirty="0" err="1"/>
              <a:t>Please</a:t>
            </a:r>
            <a:r>
              <a:rPr lang="fr-FR" sz="1400" dirty="0"/>
              <a:t> </a:t>
            </a:r>
            <a:r>
              <a:rPr lang="fr-FR" sz="1400" dirty="0" err="1"/>
              <a:t>send</a:t>
            </a:r>
            <a:r>
              <a:rPr lang="fr-FR" sz="1400" dirty="0"/>
              <a:t> me a test notebook </a:t>
            </a:r>
            <a:r>
              <a:rPr lang="fr-FR" sz="1400" dirty="0" err="1"/>
              <a:t>where</a:t>
            </a:r>
            <a:r>
              <a:rPr lang="fr-FR" sz="1400" dirty="0"/>
              <a:t> </a:t>
            </a:r>
            <a:r>
              <a:rPr lang="fr-FR" sz="1400" dirty="0" err="1"/>
              <a:t>you</a:t>
            </a:r>
            <a:r>
              <a:rPr lang="fr-FR" sz="1400" dirty="0"/>
              <a:t> </a:t>
            </a:r>
            <a:r>
              <a:rPr lang="fr-FR" sz="1400" dirty="0" err="1"/>
              <a:t>describe</a:t>
            </a:r>
            <a:r>
              <a:rPr lang="fr-FR" sz="1400" dirty="0"/>
              <a:t> </a:t>
            </a:r>
            <a:r>
              <a:rPr lang="fr-FR" sz="1400" dirty="0" err="1"/>
              <a:t>this</a:t>
            </a:r>
            <a:r>
              <a:rPr lang="fr-FR" sz="1400" dirty="0"/>
              <a:t> simple use case :</a:t>
            </a:r>
          </a:p>
          <a:p>
            <a:pPr marL="742950" lvl="1" indent="-285750">
              <a:buFont typeface="Arial" panose="020B0604020202020204" pitchFamily="34" charset="0"/>
              <a:buChar char="•"/>
            </a:pPr>
            <a:r>
              <a:rPr lang="fr-FR" sz="1400" dirty="0"/>
              <a:t>Single computation </a:t>
            </a:r>
            <a:r>
              <a:rPr lang="fr-FR" sz="1400" dirty="0" err="1"/>
              <a:t>with</a:t>
            </a:r>
            <a:r>
              <a:rPr lang="fr-FR" sz="1400" dirty="0"/>
              <a:t> a </a:t>
            </a:r>
            <a:r>
              <a:rPr lang="fr-FR" sz="1400" dirty="0" err="1"/>
              <a:t>given</a:t>
            </a:r>
            <a:r>
              <a:rPr lang="fr-FR" sz="1400" dirty="0"/>
              <a:t> transaction and </a:t>
            </a:r>
            <a:r>
              <a:rPr lang="fr-FR" sz="1400" dirty="0" err="1"/>
              <a:t>its</a:t>
            </a:r>
            <a:r>
              <a:rPr lang="fr-FR" sz="1400" dirty="0"/>
              <a:t> </a:t>
            </a:r>
            <a:r>
              <a:rPr lang="fr-FR" sz="1400" dirty="0" err="1"/>
              <a:t>corresponding</a:t>
            </a:r>
            <a:r>
              <a:rPr lang="fr-FR" sz="1400" dirty="0"/>
              <a:t> </a:t>
            </a:r>
            <a:r>
              <a:rPr lang="fr-FR" sz="1400" dirty="0" err="1"/>
              <a:t>price</a:t>
            </a:r>
            <a:r>
              <a:rPr lang="fr-FR" sz="1400" dirty="0"/>
              <a:t> formula </a:t>
            </a:r>
            <a:r>
              <a:rPr lang="fr-FR" sz="1400" dirty="0" err="1"/>
              <a:t>considering</a:t>
            </a:r>
            <a:r>
              <a:rPr lang="fr-FR" sz="1400" dirty="0"/>
              <a:t> </a:t>
            </a:r>
            <a:r>
              <a:rPr lang="fr-FR" sz="1400" dirty="0" err="1"/>
              <a:t>filters</a:t>
            </a:r>
            <a:r>
              <a:rPr lang="fr-FR" sz="1400" dirty="0"/>
              <a:t> </a:t>
            </a:r>
            <a:r>
              <a:rPr lang="fr-FR" sz="1400" dirty="0" err="1"/>
              <a:t>described</a:t>
            </a:r>
            <a:r>
              <a:rPr lang="fr-FR" sz="1400" dirty="0"/>
              <a:t> </a:t>
            </a:r>
            <a:r>
              <a:rPr lang="fr-FR" sz="1400" dirty="0" err="1"/>
              <a:t>int</a:t>
            </a:r>
            <a:r>
              <a:rPr lang="fr-FR" sz="1400" dirty="0"/>
              <a:t> the notebook.</a:t>
            </a:r>
          </a:p>
          <a:p>
            <a:pPr marL="742950" lvl="1" indent="-285750">
              <a:buFont typeface="Arial" panose="020B0604020202020204" pitchFamily="34" charset="0"/>
              <a:buChar char="•"/>
            </a:pPr>
            <a:r>
              <a:rPr lang="fr-FR" sz="1400" dirty="0"/>
              <a:t>Compare </a:t>
            </a:r>
            <a:r>
              <a:rPr lang="fr-FR" sz="1400" dirty="0" err="1"/>
              <a:t>your</a:t>
            </a:r>
            <a:r>
              <a:rPr lang="fr-FR" sz="1400" dirty="0"/>
              <a:t> </a:t>
            </a:r>
            <a:r>
              <a:rPr lang="fr-FR" sz="1400" dirty="0" err="1"/>
              <a:t>results</a:t>
            </a:r>
            <a:r>
              <a:rPr lang="fr-FR" sz="1400" dirty="0"/>
              <a:t> </a:t>
            </a:r>
            <a:r>
              <a:rPr lang="fr-FR" sz="1400" dirty="0" err="1"/>
              <a:t>with</a:t>
            </a:r>
            <a:r>
              <a:rPr lang="fr-FR" sz="1400" dirty="0"/>
              <a:t> the </a:t>
            </a:r>
            <a:r>
              <a:rPr lang="fr-FR" sz="1400" dirty="0" err="1"/>
              <a:t>raw</a:t>
            </a:r>
            <a:r>
              <a:rPr lang="fr-FR" sz="1400" dirty="0"/>
              <a:t> </a:t>
            </a:r>
            <a:r>
              <a:rPr lang="fr-FR" sz="1400" dirty="0" err="1"/>
              <a:t>parameters</a:t>
            </a:r>
            <a:r>
              <a:rPr lang="fr-FR" sz="1400" dirty="0"/>
              <a:t> (</a:t>
            </a:r>
            <a:r>
              <a:rPr lang="fr-FR" sz="1400" dirty="0" err="1"/>
              <a:t>price</a:t>
            </a:r>
            <a:r>
              <a:rPr lang="fr-FR" sz="1400" dirty="0"/>
              <a:t> components and </a:t>
            </a:r>
            <a:r>
              <a:rPr lang="fr-FR" sz="1400" dirty="0" err="1"/>
              <a:t>Bemo</a:t>
            </a:r>
            <a:r>
              <a:rPr lang="fr-FR" sz="1400" dirty="0"/>
              <a:t> </a:t>
            </a:r>
            <a:r>
              <a:rPr lang="fr-FR" sz="1400" dirty="0" err="1"/>
              <a:t>price</a:t>
            </a:r>
            <a:r>
              <a:rPr lang="fr-FR" sz="1400" dirty="0"/>
              <a:t> estimation) </a:t>
            </a:r>
            <a:r>
              <a:rPr lang="fr-FR" sz="1400" dirty="0" err="1"/>
              <a:t>provided</a:t>
            </a:r>
            <a:r>
              <a:rPr lang="fr-FR" sz="1400" dirty="0"/>
              <a:t> in the Transactions file.</a:t>
            </a:r>
          </a:p>
          <a:p>
            <a:pPr lvl="1"/>
            <a:endParaRPr lang="fr-FR" sz="1400" dirty="0"/>
          </a:p>
          <a:p>
            <a:pPr marL="285750" indent="-285750">
              <a:buFont typeface="Arial" panose="020B0604020202020204" pitchFamily="34" charset="0"/>
              <a:buChar char="•"/>
            </a:pPr>
            <a:r>
              <a:rPr lang="fr-FR" sz="1400" dirty="0"/>
              <a:t>Informative </a:t>
            </a:r>
            <a:r>
              <a:rPr lang="fr-FR" sz="1400" dirty="0" err="1"/>
              <a:t>schedule</a:t>
            </a:r>
            <a:r>
              <a:rPr lang="fr-FR" sz="1400" dirty="0"/>
              <a:t> : March 25th to April 14th</a:t>
            </a:r>
          </a:p>
          <a:p>
            <a:pPr marL="285750" indent="-285750">
              <a:buFont typeface="Arial" panose="020B0604020202020204" pitchFamily="34" charset="0"/>
              <a:buChar char="•"/>
            </a:pPr>
            <a:endParaRPr lang="fr-FR" sz="1400" dirty="0"/>
          </a:p>
          <a:p>
            <a:pPr marL="285750" indent="-285750">
              <a:buFont typeface="Arial" panose="020B0604020202020204" pitchFamily="34" charset="0"/>
              <a:buChar char="•"/>
            </a:pPr>
            <a:r>
              <a:rPr lang="fr-FR" sz="1400" dirty="0" err="1"/>
              <a:t>Available</a:t>
            </a:r>
            <a:r>
              <a:rPr lang="fr-FR" sz="1400" dirty="0"/>
              <a:t> </a:t>
            </a:r>
            <a:r>
              <a:rPr lang="fr-FR" sz="1400" dirty="0" err="1"/>
              <a:t>datasets</a:t>
            </a:r>
            <a:r>
              <a:rPr lang="fr-FR" sz="1400" dirty="0"/>
              <a:t> and </a:t>
            </a:r>
            <a:r>
              <a:rPr lang="fr-FR" sz="1400" dirty="0" err="1"/>
              <a:t>resources</a:t>
            </a:r>
            <a:r>
              <a:rPr lang="fr-FR" sz="1400" dirty="0"/>
              <a:t> :</a:t>
            </a:r>
          </a:p>
          <a:p>
            <a:pPr marL="742950" lvl="1" indent="-285750">
              <a:buFont typeface="Arial" panose="020B0604020202020204" pitchFamily="34" charset="0"/>
              <a:buChar char="•"/>
            </a:pPr>
            <a:r>
              <a:rPr lang="fr-FR" sz="1400" dirty="0" err="1"/>
              <a:t>Datasets</a:t>
            </a:r>
            <a:r>
              <a:rPr lang="fr-FR" sz="1400" dirty="0"/>
              <a:t> </a:t>
            </a:r>
            <a:r>
              <a:rPr lang="fr-FR" sz="1400" dirty="0" err="1"/>
              <a:t>already</a:t>
            </a:r>
            <a:r>
              <a:rPr lang="fr-FR" sz="1400" dirty="0"/>
              <a:t> </a:t>
            </a:r>
            <a:r>
              <a:rPr lang="fr-FR" sz="1400" dirty="0" err="1"/>
              <a:t>include</a:t>
            </a:r>
            <a:r>
              <a:rPr lang="fr-FR" sz="1400" dirty="0"/>
              <a:t> </a:t>
            </a:r>
            <a:r>
              <a:rPr lang="fr-FR" sz="1400" dirty="0" err="1"/>
              <a:t>filters</a:t>
            </a:r>
            <a:r>
              <a:rPr lang="fr-FR" sz="1400" dirty="0"/>
              <a:t> to 3 countries (NL, DE, FR) and 3 </a:t>
            </a:r>
            <a:r>
              <a:rPr lang="fr-FR" sz="1400" dirty="0" err="1"/>
              <a:t>CPOs</a:t>
            </a:r>
            <a:r>
              <a:rPr lang="fr-FR" sz="1400" dirty="0"/>
              <a:t> (Last Mile Solutions, </a:t>
            </a:r>
            <a:r>
              <a:rPr lang="fr-FR" sz="1400" dirty="0" err="1"/>
              <a:t>TotalEnergies</a:t>
            </a:r>
            <a:r>
              <a:rPr lang="fr-FR" sz="1400" dirty="0"/>
              <a:t>, Charge Point) </a:t>
            </a:r>
            <a:r>
              <a:rPr lang="fr-FR" sz="1400" dirty="0" err="1"/>
              <a:t>from</a:t>
            </a:r>
            <a:r>
              <a:rPr lang="fr-FR" sz="1400" dirty="0"/>
              <a:t> </a:t>
            </a:r>
            <a:r>
              <a:rPr lang="fr-FR" sz="1400" dirty="0" err="1"/>
              <a:t>January</a:t>
            </a:r>
            <a:r>
              <a:rPr lang="fr-FR" sz="1400" dirty="0"/>
              <a:t> 23 to March 24 : </a:t>
            </a:r>
          </a:p>
          <a:p>
            <a:pPr marL="742950" lvl="1" indent="-285750">
              <a:buFont typeface="Arial" panose="020B0604020202020204" pitchFamily="34" charset="0"/>
              <a:buChar char="•"/>
            </a:pPr>
            <a:r>
              <a:rPr lang="fr-FR" sz="1400" dirty="0"/>
              <a:t>Price formula :</a:t>
            </a:r>
          </a:p>
          <a:p>
            <a:pPr marL="1200150" lvl="2" indent="-285750">
              <a:buFont typeface="Arial" panose="020B0604020202020204" pitchFamily="34" charset="0"/>
              <a:buChar char="•"/>
            </a:pPr>
            <a:r>
              <a:rPr lang="fr-FR" sz="1400" dirty="0"/>
              <a:t>15 files Price_</a:t>
            </a:r>
            <a:r>
              <a:rPr lang="en-US" sz="1400" dirty="0"/>
              <a:t>Sampled_Dataset_PriceFormula_filt_X_Y.csv from</a:t>
            </a:r>
          </a:p>
          <a:p>
            <a:pPr marL="742950" lvl="1" indent="-285750">
              <a:buFont typeface="Arial" panose="020B0604020202020204" pitchFamily="34" charset="0"/>
              <a:buChar char="•"/>
            </a:pPr>
            <a:r>
              <a:rPr lang="fr-FR" sz="1400" dirty="0"/>
              <a:t>Transactions </a:t>
            </a:r>
          </a:p>
          <a:p>
            <a:pPr marL="1200150" lvl="2" indent="-285750">
              <a:buFont typeface="Arial" panose="020B0604020202020204" pitchFamily="34" charset="0"/>
              <a:buChar char="•"/>
            </a:pPr>
            <a:r>
              <a:rPr lang="en-US" sz="1400" dirty="0"/>
              <a:t>5 files Sampled_Dataset_Transactions_PricerV2_filt_X_Y</a:t>
            </a:r>
          </a:p>
          <a:p>
            <a:pPr marL="1200150" lvl="2" indent="-285750">
              <a:buFont typeface="Arial" panose="020B0604020202020204" pitchFamily="34" charset="0"/>
              <a:buChar char="•"/>
            </a:pPr>
            <a:r>
              <a:rPr lang="en-US" sz="1400" dirty="0"/>
              <a:t>This dataset already includes a merge with EVSE dataset (</a:t>
            </a:r>
            <a:r>
              <a:rPr lang="en-US" sz="1400" dirty="0" err="1"/>
              <a:t>ie</a:t>
            </a:r>
            <a:r>
              <a:rPr lang="en-US" sz="1400" dirty="0"/>
              <a:t> mainly EVSE and Connector ID).</a:t>
            </a:r>
          </a:p>
          <a:p>
            <a:pPr marL="742950" lvl="1" indent="-285750">
              <a:buFont typeface="Arial" panose="020B0604020202020204" pitchFamily="34" charset="0"/>
              <a:buChar char="•"/>
            </a:pPr>
            <a:r>
              <a:rPr lang="en-US" sz="1400" dirty="0" err="1"/>
              <a:t>Jupyter</a:t>
            </a:r>
            <a:r>
              <a:rPr lang="en-US" sz="1400" dirty="0"/>
              <a:t> notebook ‘</a:t>
            </a:r>
            <a:r>
              <a:rPr lang="en-US" sz="1400" dirty="0" err="1"/>
              <a:t>Pricer_Python_Request.ipynb</a:t>
            </a:r>
            <a:r>
              <a:rPr lang="en-US" sz="1400" dirty="0"/>
              <a:t>’ to send Python request to </a:t>
            </a:r>
            <a:r>
              <a:rPr lang="en-US" sz="1400" dirty="0" err="1"/>
              <a:t>Bemo</a:t>
            </a:r>
            <a:r>
              <a:rPr lang="en-US" sz="1400" dirty="0"/>
              <a:t> V2 </a:t>
            </a:r>
            <a:r>
              <a:rPr lang="en-US" sz="1400" dirty="0" err="1"/>
              <a:t>Pricer</a:t>
            </a:r>
            <a:r>
              <a:rPr lang="en-US" sz="1400" dirty="0"/>
              <a:t> : several options are described as single and batch computations. </a:t>
            </a:r>
          </a:p>
        </p:txBody>
      </p:sp>
      <p:sp>
        <p:nvSpPr>
          <p:cNvPr id="6" name="Espace réservé du numéro de diapositive 5">
            <a:extLst>
              <a:ext uri="{FF2B5EF4-FFF2-40B4-BE49-F238E27FC236}">
                <a16:creationId xmlns:a16="http://schemas.microsoft.com/office/drawing/2014/main" id="{EC9D517D-70A7-51E5-CA4E-DCE743F41F1A}"/>
              </a:ext>
            </a:extLst>
          </p:cNvPr>
          <p:cNvSpPr>
            <a:spLocks noGrp="1"/>
          </p:cNvSpPr>
          <p:nvPr>
            <p:ph type="sldNum" sz="quarter" idx="18"/>
          </p:nvPr>
        </p:nvSpPr>
        <p:spPr/>
        <p:txBody>
          <a:bodyPr/>
          <a:lstStyle/>
          <a:p>
            <a:fld id="{E9F690C6-F4CD-4FC2-95DF-E832AE3B8C23}" type="slidenum">
              <a:rPr lang="fr-FR" smtClean="0"/>
              <a:pPr/>
              <a:t>9</a:t>
            </a:fld>
            <a:endParaRPr lang="fr-FR"/>
          </a:p>
        </p:txBody>
      </p:sp>
    </p:spTree>
    <p:extLst>
      <p:ext uri="{BB962C8B-B14F-4D97-AF65-F5344CB8AC3E}">
        <p14:creationId xmlns:p14="http://schemas.microsoft.com/office/powerpoint/2010/main" val="12052500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ème BeMo">
  <a:themeElements>
    <a:clrScheme name="Personnalisé 1">
      <a:dk1>
        <a:srgbClr val="374649"/>
      </a:dk1>
      <a:lt1>
        <a:sysClr val="window" lastClr="FFFFFF"/>
      </a:lt1>
      <a:dk2>
        <a:srgbClr val="374649"/>
      </a:dk2>
      <a:lt2>
        <a:srgbClr val="FFFFFF"/>
      </a:lt2>
      <a:accent1>
        <a:srgbClr val="FF0000"/>
      </a:accent1>
      <a:accent2>
        <a:srgbClr val="285AFF"/>
      </a:accent2>
      <a:accent3>
        <a:srgbClr val="009BFF"/>
      </a:accent3>
      <a:accent4>
        <a:srgbClr val="32C8C8"/>
      </a:accent4>
      <a:accent5>
        <a:srgbClr val="28C896"/>
      </a:accent5>
      <a:accent6>
        <a:srgbClr val="96E600"/>
      </a:accent6>
      <a:hlink>
        <a:srgbClr val="285AFF"/>
      </a:hlink>
      <a:folHlink>
        <a:srgbClr val="954F72"/>
      </a:folHlink>
    </a:clrScheme>
    <a:fontScheme name="Be:Mo">
      <a:majorFont>
        <a:latin typeface="Source Sans Pro SemiBold"/>
        <a:ea typeface=""/>
        <a:cs typeface=""/>
      </a:majorFont>
      <a:minorFont>
        <a:latin typeface="Source Sans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1a435957-6ebb-4bd2-b36a-1fcef003bec0" xsi:nil="true"/>
    <lcf76f155ced4ddcb4097134ff3c332f xmlns="45ce75d2-868c-4a8b-8efe-9d0d0dd22eb3">
      <Terms xmlns="http://schemas.microsoft.com/office/infopath/2007/PartnerControls"/>
    </lcf76f155ced4ddcb4097134ff3c332f>
    <SharedWithUsers xmlns="1a435957-6ebb-4bd2-b36a-1fcef003bec0">
      <UserInfo>
        <DisplayName>Alexandre BIDAULT</DisplayName>
        <AccountId>13</AccountId>
        <AccountType/>
      </UserInfo>
      <UserInfo>
        <DisplayName>Charles BESSON</DisplayName>
        <AccountId>9</AccountId>
        <AccountType/>
      </UserInfo>
      <UserInfo>
        <DisplayName>Gilles-l GAUTHIER</DisplayName>
        <AccountId>40</AccountId>
        <AccountType/>
      </UserInfo>
    </SharedWithUsers>
    <Contenu xmlns="45ce75d2-868c-4a8b-8efe-9d0d0dd22eb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4AF5EB5BA76F2045B2E38313BCD0C09F" ma:contentTypeVersion="16" ma:contentTypeDescription="Crée un document." ma:contentTypeScope="" ma:versionID="07348cfc61e041091bfb33f2b28a8429">
  <xsd:schema xmlns:xsd="http://www.w3.org/2001/XMLSchema" xmlns:xs="http://www.w3.org/2001/XMLSchema" xmlns:p="http://schemas.microsoft.com/office/2006/metadata/properties" xmlns:ns2="45ce75d2-868c-4a8b-8efe-9d0d0dd22eb3" xmlns:ns3="1a435957-6ebb-4bd2-b36a-1fcef003bec0" targetNamespace="http://schemas.microsoft.com/office/2006/metadata/properties" ma:root="true" ma:fieldsID="5f02b4e8c6ddbd03f7549977a49f1969" ns2:_="" ns3:_="">
    <xsd:import namespace="45ce75d2-868c-4a8b-8efe-9d0d0dd22eb3"/>
    <xsd:import namespace="1a435957-6ebb-4bd2-b36a-1fcef003bec0"/>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Location" minOccurs="0"/>
                <xsd:element ref="ns3:SharedWithUsers" minOccurs="0"/>
                <xsd:element ref="ns3:SharedWithDetails" minOccurs="0"/>
                <xsd:element ref="ns2:MediaServiceSearchProperties" minOccurs="0"/>
                <xsd:element ref="ns2:Contenu"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5ce75d2-868c-4a8b-8efe-9d0d0dd22eb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lcf76f155ced4ddcb4097134ff3c332f" ma:index="12" nillable="true" ma:taxonomy="true" ma:internalName="lcf76f155ced4ddcb4097134ff3c332f" ma:taxonomyFieldName="MediaServiceImageTags" ma:displayName="Balises d’images" ma:readOnly="false" ma:fieldId="{5cf76f15-5ced-4ddc-b409-7134ff3c332f}" ma:taxonomyMulti="true" ma:sspId="7d7a317d-19e9-4a41-b675-f2bd41b4cabf" ma:termSetId="09814cd3-568e-fe90-9814-8d621ff8fb84" ma:anchorId="fba54fb3-c3e1-fe81-a776-ca4b69148c4d" ma:open="true" ma:isKeyword="false">
      <xsd:complexType>
        <xsd:sequence>
          <xsd:element ref="pc:Terms" minOccurs="0" maxOccurs="1"/>
        </xsd:sequence>
      </xsd:complex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dexed="true" ma:internalName="MediaServiceDateTaken"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MediaServiceLocation" ma:index="19" nillable="true" ma:displayName="Location" ma:indexed="true" ma:internalName="MediaServiceLocation"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element name="Contenu" ma:index="23" nillable="true" ma:displayName="Contenu" ma:format="Dropdown" ma:internalName="Contenu">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1a435957-6ebb-4bd2-b36a-1fcef003bec0" elementFormDefault="qualified">
    <xsd:import namespace="http://schemas.microsoft.com/office/2006/documentManagement/types"/>
    <xsd:import namespace="http://schemas.microsoft.com/office/infopath/2007/PartnerControls"/>
    <xsd:element name="TaxCatchAll" ma:index="13" nillable="true" ma:displayName="Taxonomy Catch All Column" ma:hidden="true" ma:list="{2163f73c-58d6-4ebe-bcc9-3e64822a1642}" ma:internalName="TaxCatchAll" ma:showField="CatchAllData" ma:web="1a435957-6ebb-4bd2-b36a-1fcef003bec0">
      <xsd:complexType>
        <xsd:complexContent>
          <xsd:extension base="dms:MultiChoiceLookup">
            <xsd:sequence>
              <xsd:element name="Value" type="dms:Lookup" maxOccurs="unbounded" minOccurs="0" nillable="true"/>
            </xsd:sequence>
          </xsd:extension>
        </xsd:complexContent>
      </xsd:complexType>
    </xsd:element>
    <xsd:element name="SharedWithUsers" ma:index="20"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Partagé avec dé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44A72FB-F9EF-4828-81B1-13F2CCB90A2C}">
  <ds:schemaRefs>
    <ds:schemaRef ds:uri="1a435957-6ebb-4bd2-b36a-1fcef003bec0"/>
    <ds:schemaRef ds:uri="http://schemas.microsoft.com/office/2006/documentManagement/types"/>
    <ds:schemaRef ds:uri="http://purl.org/dc/elements/1.1/"/>
    <ds:schemaRef ds:uri="http://schemas.microsoft.com/office/infopath/2007/PartnerControls"/>
    <ds:schemaRef ds:uri="http://purl.org/dc/dcmitype/"/>
    <ds:schemaRef ds:uri="http://www.w3.org/XML/1998/namespace"/>
    <ds:schemaRef ds:uri="http://schemas.microsoft.com/office/2006/metadata/properties"/>
    <ds:schemaRef ds:uri="http://schemas.openxmlformats.org/package/2006/metadata/core-properties"/>
    <ds:schemaRef ds:uri="45ce75d2-868c-4a8b-8efe-9d0d0dd22eb3"/>
    <ds:schemaRef ds:uri="http://purl.org/dc/terms/"/>
  </ds:schemaRefs>
</ds:datastoreItem>
</file>

<file path=customXml/itemProps2.xml><?xml version="1.0" encoding="utf-8"?>
<ds:datastoreItem xmlns:ds="http://schemas.openxmlformats.org/officeDocument/2006/customXml" ds:itemID="{D62AC73C-55AB-4836-BD09-AA71292EB348}">
  <ds:schemaRefs>
    <ds:schemaRef ds:uri="1a435957-6ebb-4bd2-b36a-1fcef003bec0"/>
    <ds:schemaRef ds:uri="45ce75d2-868c-4a8b-8efe-9d0d0dd22eb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63D30A67-117F-42D8-ACDD-0ADA4F47083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924</TotalTime>
  <Words>3053</Words>
  <Application>Microsoft Office PowerPoint</Application>
  <PresentationFormat>Grand écran</PresentationFormat>
  <Paragraphs>226</Paragraphs>
  <Slides>18</Slides>
  <Notes>0</Notes>
  <HiddenSlides>0</HiddenSlides>
  <MMClips>0</MMClips>
  <ScaleCrop>false</ScaleCrop>
  <HeadingPairs>
    <vt:vector size="8" baseType="variant">
      <vt:variant>
        <vt:lpstr>Polices utilisées</vt:lpstr>
      </vt:variant>
      <vt:variant>
        <vt:i4>9</vt:i4>
      </vt:variant>
      <vt:variant>
        <vt:lpstr>Thème</vt:lpstr>
      </vt:variant>
      <vt:variant>
        <vt:i4>1</vt:i4>
      </vt:variant>
      <vt:variant>
        <vt:lpstr>Serveurs OLE incorporés</vt:lpstr>
      </vt:variant>
      <vt:variant>
        <vt:i4>1</vt:i4>
      </vt:variant>
      <vt:variant>
        <vt:lpstr>Titres des diapositives</vt:lpstr>
      </vt:variant>
      <vt:variant>
        <vt:i4>18</vt:i4>
      </vt:variant>
    </vt:vector>
  </HeadingPairs>
  <TitlesOfParts>
    <vt:vector size="29" baseType="lpstr">
      <vt:lpstr>Aptos Black</vt:lpstr>
      <vt:lpstr>Arial</vt:lpstr>
      <vt:lpstr>Calibri</vt:lpstr>
      <vt:lpstr>Courier New</vt:lpstr>
      <vt:lpstr>Gotham Rounded Medium</vt:lpstr>
      <vt:lpstr>Roboto</vt:lpstr>
      <vt:lpstr>Source Sans Pro</vt:lpstr>
      <vt:lpstr>Symbol</vt:lpstr>
      <vt:lpstr>Wingdings</vt:lpstr>
      <vt:lpstr>Thème BeMo</vt:lpstr>
      <vt:lpstr>Diapositive think-cell</vt:lpstr>
      <vt:lpstr>Analysis and optimization of the pricing  of electric charging networks Technical presentation January 24th 2024</vt:lpstr>
      <vt:lpstr>Project guidelines</vt:lpstr>
      <vt:lpstr>Informative scheduling</vt:lpstr>
      <vt:lpstr>Item 1 description</vt:lpstr>
      <vt:lpstr>Présentation PowerPoint</vt:lpstr>
      <vt:lpstr>Features description</vt:lpstr>
      <vt:lpstr>Présentation PowerPoint</vt:lpstr>
      <vt:lpstr>Item 2 description</vt:lpstr>
      <vt:lpstr>Item 3 description</vt:lpstr>
      <vt:lpstr>Features description</vt:lpstr>
      <vt:lpstr>Python Json body description</vt:lpstr>
      <vt:lpstr>Python Json body description</vt:lpstr>
      <vt:lpstr>Item 4.1 description</vt:lpstr>
      <vt:lpstr>Présentation PowerPoint</vt:lpstr>
      <vt:lpstr>Item 4.2 description</vt:lpstr>
      <vt:lpstr>Item 5 description</vt:lpstr>
      <vt:lpstr>Next steps</vt:lpstr>
      <vt:lpstr>Contac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Alexandre Levante</dc:creator>
  <cp:lastModifiedBy>Pierre CHAVANNE</cp:lastModifiedBy>
  <cp:revision>1</cp:revision>
  <dcterms:created xsi:type="dcterms:W3CDTF">2023-07-03T09:12:07Z</dcterms:created>
  <dcterms:modified xsi:type="dcterms:W3CDTF">2024-05-02T10:22: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F5EB5BA76F2045B2E38313BCD0C09F</vt:lpwstr>
  </property>
  <property fmtid="{D5CDD505-2E9C-101B-9397-08002B2CF9AE}" pid="3" name="MediaServiceImageTags">
    <vt:lpwstr/>
  </property>
  <property fmtid="{D5CDD505-2E9C-101B-9397-08002B2CF9AE}" pid="4" name="MSIP_Label_2b30ed1b-e95f-40b5-af89-828263f287a7_Enabled">
    <vt:lpwstr>true</vt:lpwstr>
  </property>
  <property fmtid="{D5CDD505-2E9C-101B-9397-08002B2CF9AE}" pid="5" name="MSIP_Label_2b30ed1b-e95f-40b5-af89-828263f287a7_SetDate">
    <vt:lpwstr>2023-09-07T08:00:28Z</vt:lpwstr>
  </property>
  <property fmtid="{D5CDD505-2E9C-101B-9397-08002B2CF9AE}" pid="6" name="MSIP_Label_2b30ed1b-e95f-40b5-af89-828263f287a7_Method">
    <vt:lpwstr>Standard</vt:lpwstr>
  </property>
  <property fmtid="{D5CDD505-2E9C-101B-9397-08002B2CF9AE}" pid="7" name="MSIP_Label_2b30ed1b-e95f-40b5-af89-828263f287a7_Name">
    <vt:lpwstr>2b30ed1b-e95f-40b5-af89-828263f287a7</vt:lpwstr>
  </property>
  <property fmtid="{D5CDD505-2E9C-101B-9397-08002B2CF9AE}" pid="8" name="MSIP_Label_2b30ed1b-e95f-40b5-af89-828263f287a7_SiteId">
    <vt:lpwstr>329e91b0-e21f-48fb-a071-456717ecc28e</vt:lpwstr>
  </property>
  <property fmtid="{D5CDD505-2E9C-101B-9397-08002B2CF9AE}" pid="9" name="MSIP_Label_2b30ed1b-e95f-40b5-af89-828263f287a7_ActionId">
    <vt:lpwstr>e3a26f5c-d1eb-4223-859e-266e146893e7</vt:lpwstr>
  </property>
  <property fmtid="{D5CDD505-2E9C-101B-9397-08002B2CF9AE}" pid="10" name="MSIP_Label_2b30ed1b-e95f-40b5-af89-828263f287a7_ContentBits">
    <vt:lpwstr>0</vt:lpwstr>
  </property>
</Properties>
</file>